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2" r:id="rId1"/>
    <p:sldMasterId id="2147483679" r:id="rId2"/>
    <p:sldMasterId id="2147483722" r:id="rId3"/>
    <p:sldMasterId id="2147483768" r:id="rId4"/>
  </p:sldMasterIdLst>
  <p:notesMasterIdLst>
    <p:notesMasterId r:id="rId29"/>
  </p:notesMasterIdLst>
  <p:handoutMasterIdLst>
    <p:handoutMasterId r:id="rId30"/>
  </p:handoutMasterIdLst>
  <p:sldIdLst>
    <p:sldId id="3377" r:id="rId5"/>
    <p:sldId id="3368" r:id="rId6"/>
    <p:sldId id="3379" r:id="rId7"/>
    <p:sldId id="3359" r:id="rId8"/>
    <p:sldId id="3371" r:id="rId9"/>
    <p:sldId id="3375" r:id="rId10"/>
    <p:sldId id="3363" r:id="rId11"/>
    <p:sldId id="2646" r:id="rId12"/>
    <p:sldId id="3378" r:id="rId13"/>
    <p:sldId id="3367" r:id="rId14"/>
    <p:sldId id="2686" r:id="rId15"/>
    <p:sldId id="3388" r:id="rId16"/>
    <p:sldId id="2688" r:id="rId17"/>
    <p:sldId id="2689" r:id="rId18"/>
    <p:sldId id="3373" r:id="rId19"/>
    <p:sldId id="3380" r:id="rId20"/>
    <p:sldId id="3382" r:id="rId21"/>
    <p:sldId id="3381" r:id="rId22"/>
    <p:sldId id="3383" r:id="rId23"/>
    <p:sldId id="3384" r:id="rId24"/>
    <p:sldId id="3385" r:id="rId25"/>
    <p:sldId id="3387" r:id="rId26"/>
    <p:sldId id="3386" r:id="rId27"/>
    <p:sldId id="3361" r:id="rId28"/>
  </p:sldIdLst>
  <p:sldSz cx="9906000" cy="6858000" type="A4"/>
  <p:notesSz cx="6797675" cy="987425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structured Data" id="{B1AA6CDA-3502-3645-A195-D5323F6918D8}">
          <p14:sldIdLst>
            <p14:sldId id="3377"/>
            <p14:sldId id="3368"/>
            <p14:sldId id="3379"/>
            <p14:sldId id="3359"/>
            <p14:sldId id="3371"/>
            <p14:sldId id="3375"/>
            <p14:sldId id="3363"/>
            <p14:sldId id="2646"/>
            <p14:sldId id="3378"/>
            <p14:sldId id="3367"/>
            <p14:sldId id="2686"/>
            <p14:sldId id="3388"/>
            <p14:sldId id="2688"/>
            <p14:sldId id="2689"/>
            <p14:sldId id="3373"/>
            <p14:sldId id="3380"/>
            <p14:sldId id="3382"/>
            <p14:sldId id="3381"/>
            <p14:sldId id="3383"/>
            <p14:sldId id="3384"/>
            <p14:sldId id="3385"/>
            <p14:sldId id="3387"/>
            <p14:sldId id="3386"/>
            <p14:sldId id="33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orient="horz" pos="3997" userDrawn="1">
          <p15:clr>
            <a:srgbClr val="A4A3A4"/>
          </p15:clr>
        </p15:guide>
        <p15:guide id="3" orient="horz" pos="356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1298" userDrawn="1">
          <p15:clr>
            <a:srgbClr val="A4A3A4"/>
          </p15:clr>
        </p15:guide>
        <p15:guide id="6" orient="horz" pos="504" userDrawn="1">
          <p15:clr>
            <a:srgbClr val="A4A3A4"/>
          </p15:clr>
        </p15:guide>
        <p15:guide id="7" pos="3120" userDrawn="1">
          <p15:clr>
            <a:srgbClr val="A4A3A4"/>
          </p15:clr>
        </p15:guide>
        <p15:guide id="8" pos="171" userDrawn="1">
          <p15:clr>
            <a:srgbClr val="A4A3A4"/>
          </p15:clr>
        </p15:guide>
        <p15:guide id="9" pos="6069" userDrawn="1">
          <p15:clr>
            <a:srgbClr val="A4A3A4"/>
          </p15:clr>
        </p15:guide>
        <p15:guide id="10" pos="3366" userDrawn="1">
          <p15:clr>
            <a:srgbClr val="A4A3A4"/>
          </p15:clr>
        </p15:guide>
        <p15:guide id="11" pos="28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884"/>
    <a:srgbClr val="004584"/>
    <a:srgbClr val="5F5F5F"/>
    <a:srgbClr val="FFC000"/>
    <a:srgbClr val="FEC003"/>
    <a:srgbClr val="F0B410"/>
    <a:srgbClr val="0086FF"/>
    <a:srgbClr val="4F7AA7"/>
    <a:srgbClr val="F5F1E7"/>
    <a:srgbClr val="FFEC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2D080F-4447-4715-BBE9-98E8CD0F3CC6}" v="672" dt="2019-12-04T04:08:14.030"/>
    <p1510:client id="{402C97C7-E106-7BE6-FBC1-BEE96991ABBA}" v="12" dt="2019-12-04T01:55:57.752"/>
    <p1510:client id="{64156686-6A53-4DCB-B392-D0C94D0F9164}" v="149" dt="2019-12-04T02:30:48.282"/>
    <p1510:client id="{8A878850-D714-42B4-821C-38FC9BFC2184}" v="1098" dt="2019-12-04T04:03:22.073"/>
    <p1510:client id="{A8752951-3A31-32E6-77D6-DB44F7962C6D}" v="31" dt="2019-12-04T15:04:24.971"/>
    <p1510:client id="{BABB6868-6BA5-4FE0-9F07-738D0D83EE7D}" v="512" dt="2019-12-04T04:07:06.986"/>
    <p1510:client id="{BCF83DA5-06AA-EEF9-85AF-92F90A4BE46C}" v="4" dt="2019-12-04T02:14:10.335"/>
    <p1510:client id="{ED6A18DD-DC32-9858-7045-1A9425BE4F0D}" v="3" dt="2019-12-04T02:29:50.5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614" y="58"/>
      </p:cViewPr>
      <p:guideLst>
        <p:guide orient="horz" pos="1026"/>
        <p:guide orient="horz" pos="3997"/>
        <p:guide orient="horz" pos="3566"/>
        <p:guide orient="horz" pos="4247"/>
        <p:guide orient="horz" pos="1298"/>
        <p:guide orient="horz" pos="504"/>
        <p:guide pos="3120"/>
        <p:guide pos="171"/>
        <p:guide pos="6069"/>
        <p:guide pos="3366"/>
        <p:guide pos="28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2/4/2019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2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are a team of analytical consultants and really passionate about this project. This is our plan for today and let’s get start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233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6E95E-57AA-4526-AA4C-3002F47FB13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156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C2B45-05BF-A249-98F0-37408DEE6E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8500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jp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CEEFE-1040-4D5D-8070-73DA8151A8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4AA724-1C4A-48BF-9574-93099A3479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22AFAD-94CE-457B-AFBF-6292BC5F1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037279-64BA-483C-A142-18FFBD8D1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B99A52-4A52-48A3-A2E6-410BF6A5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597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D160B-12F3-46C6-BCC3-4DCDC34E3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F7FADC-1413-4D7F-86CC-5F7768F81F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0A5F58-6689-4959-9AD1-342873410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57E69B-1004-43DD-B519-5211EA34C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CD943-1588-4DD2-A744-8957D9EC0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865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B5AF65-4635-4CAC-A3C6-FB9D64676E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E1B78E-3B0E-43E1-9345-F88A755106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AAACD-14B5-4282-957B-A4517CBE7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C1B2FD-3B26-4111-B0E7-C99B1499A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0B01C-70E7-4E46-86D0-9CA7889A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704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679900"/>
            <a:ext cx="9906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6885" y="3993375"/>
            <a:ext cx="9336293" cy="99532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885" y="5179566"/>
            <a:ext cx="7236915" cy="4431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r>
              <a:rPr lang="en-US"/>
              <a:t>Departmen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312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2060576"/>
            <a:ext cx="9362546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071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Tex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4848" y="1524000"/>
            <a:ext cx="9369425" cy="1338828"/>
          </a:xfr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005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1066801"/>
            <a:ext cx="62562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 sz="1600" b="1"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2749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201" y="1627632"/>
            <a:ext cx="9366811" cy="276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1" y="2157985"/>
            <a:ext cx="9366880" cy="276999"/>
          </a:xfrm>
          <a:ln>
            <a:noFill/>
          </a:ln>
        </p:spPr>
        <p:txBody>
          <a:bodyPr/>
          <a:lstStyle>
            <a:lvl1pPr marL="346075" indent="-346075">
              <a:buClr>
                <a:schemeClr val="accent1"/>
              </a:buClr>
              <a:buFont typeface="Arial" panose="020B0604020202020204" pitchFamily="34" charset="0"/>
              <a:buChar char="■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3958068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Page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872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71729" y="1115846"/>
            <a:ext cx="7685647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00888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27955" y="237069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048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CE004-8B9E-4560-B324-B7A59AD97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8CED5E-EF49-4980-BF22-BFA5F844E1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749DA-5CE1-4CD8-991C-C006B52BE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19AB17-5FB2-46E9-9063-FAB7E9A20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E4DA3-309C-452A-9C97-A4A980F2C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449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59996" y="3352914"/>
            <a:ext cx="2318107" cy="914400"/>
          </a:xfrm>
          <a:custGeom>
            <a:avLst/>
            <a:gdLst/>
            <a:ahLst/>
            <a:cxnLst/>
            <a:rect l="l" t="t" r="r" b="b"/>
            <a:pathLst>
              <a:path w="2853055" h="914400">
                <a:moveTo>
                  <a:pt x="0" y="0"/>
                </a:moveTo>
                <a:lnTo>
                  <a:pt x="2852707" y="0"/>
                </a:lnTo>
                <a:lnTo>
                  <a:pt x="2852707" y="914399"/>
                </a:lnTo>
                <a:lnTo>
                  <a:pt x="0" y="914399"/>
                </a:lnTo>
                <a:lnTo>
                  <a:pt x="0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4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3861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42816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108153" y="1145311"/>
            <a:ext cx="2877414" cy="39716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4096544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230748" y="1145311"/>
            <a:ext cx="2877404" cy="39716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219139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1357566" y="1355944"/>
            <a:ext cx="6604000" cy="457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1342088" y="1336891"/>
            <a:ext cx="6634956" cy="4610100"/>
          </a:xfrm>
          <a:custGeom>
            <a:avLst/>
            <a:gdLst/>
            <a:ahLst/>
            <a:cxnLst/>
            <a:rect l="l" t="t" r="r" b="b"/>
            <a:pathLst>
              <a:path w="8166100" h="4610100">
                <a:moveTo>
                  <a:pt x="0" y="0"/>
                </a:moveTo>
                <a:lnTo>
                  <a:pt x="8166104" y="0"/>
                </a:lnTo>
                <a:lnTo>
                  <a:pt x="8166104" y="4610102"/>
                </a:lnTo>
                <a:lnTo>
                  <a:pt x="0" y="4610102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81903" y="169710"/>
            <a:ext cx="954219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4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7622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3698164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235341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8690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906000" cy="685799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11510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own Arrow Callout 17"/>
          <p:cNvSpPr/>
          <p:nvPr userDrawn="1"/>
        </p:nvSpPr>
        <p:spPr bwMode="auto">
          <a:xfrm>
            <a:off x="0" y="0"/>
            <a:ext cx="9906000" cy="3372155"/>
          </a:xfrm>
          <a:prstGeom prst="downArrowCallout">
            <a:avLst>
              <a:gd name="adj1" fmla="val 32676"/>
              <a:gd name="adj2" fmla="val 14109"/>
              <a:gd name="adj3" fmla="val 10498"/>
              <a:gd name="adj4" fmla="val 92638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950"/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061825" y="622368"/>
            <a:ext cx="1782350" cy="2193005"/>
          </a:xfrm>
          <a:prstGeom prst="ellips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6867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WW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42622" y="1473951"/>
            <a:ext cx="1543758" cy="2038757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510953" y="1473951"/>
            <a:ext cx="1543758" cy="2038757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179283" y="1473951"/>
            <a:ext cx="1543758" cy="2038757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851291" y="1473951"/>
            <a:ext cx="1543758" cy="2038757"/>
          </a:xfrm>
          <a:prstGeom prst="rect">
            <a:avLst/>
          </a:prstGeom>
          <a:ln w="19050">
            <a:solidFill>
              <a:schemeClr val="accent4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7519621" y="1473951"/>
            <a:ext cx="1543758" cy="2038757"/>
          </a:xfrm>
          <a:prstGeom prst="rect">
            <a:avLst/>
          </a:prstGeom>
          <a:ln w="19050">
            <a:solidFill>
              <a:schemeClr val="accent5"/>
            </a:solidFill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337524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animBg="1"/>
      <p:bldP spid="46" grpId="0" animBg="1"/>
      <p:bldP spid="47" grpId="0" animBg="1"/>
      <p:bldP spid="48" grpId="0" animBg="1"/>
      <p:bldP spid="49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940323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940323" y="1963502"/>
            <a:ext cx="1539976" cy="1894789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787766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7"/>
          </p:nvPr>
        </p:nvSpPr>
        <p:spPr>
          <a:xfrm>
            <a:off x="3057863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057863" y="1963502"/>
            <a:ext cx="1539976" cy="1894789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2905306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5231516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231516" y="1963502"/>
            <a:ext cx="1539976" cy="1894789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2"/>
          </p:nvPr>
        </p:nvSpPr>
        <p:spPr>
          <a:xfrm>
            <a:off x="5078959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3"/>
          </p:nvPr>
        </p:nvSpPr>
        <p:spPr>
          <a:xfrm>
            <a:off x="7404962" y="4002003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404962" y="1963502"/>
            <a:ext cx="1539976" cy="1894789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25"/>
          </p:nvPr>
        </p:nvSpPr>
        <p:spPr>
          <a:xfrm>
            <a:off x="7252405" y="4552559"/>
            <a:ext cx="1845093" cy="123110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568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2EF064-A823-4326-BC49-432B4FC2A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24EDAE-535E-4526-8B7E-B5F07234A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9C82D4-BFD2-4F43-B30D-BDB89F1CE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BCC63-D144-4869-A070-5D812AEF6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83A4C1-8F13-4388-9CF6-E3A793C7C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1248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Line buttom"/>
          <p:cNvCxnSpPr/>
          <p:nvPr userDrawn="1"/>
        </p:nvCxnSpPr>
        <p:spPr>
          <a:xfrm>
            <a:off x="742950" y="3775204"/>
            <a:ext cx="84201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586291" y="3655460"/>
            <a:ext cx="194584" cy="239488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33">
              <a:solidFill>
                <a:schemeClr val="accent1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3748563" y="3653343"/>
            <a:ext cx="194584" cy="239488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33">
              <a:solidFill>
                <a:schemeClr val="accent2">
                  <a:lumMod val="50000"/>
                </a:schemeClr>
              </a:solidFill>
              <a:latin typeface="FontAwesome" pitchFamily="2" charset="0"/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5910835" y="3655460"/>
            <a:ext cx="194584" cy="239488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33">
              <a:solidFill>
                <a:schemeClr val="accent3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8073105" y="3655460"/>
            <a:ext cx="194584" cy="239488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530" tIns="0" rIns="0" rtlCol="0" anchor="ctr"/>
          <a:lstStyle/>
          <a:p>
            <a:pPr algn="ctr"/>
            <a:endParaRPr lang="en-US" sz="2600">
              <a:solidFill>
                <a:schemeClr val="accent4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9" name="Up Arrow Callout 18"/>
          <p:cNvSpPr/>
          <p:nvPr/>
        </p:nvSpPr>
        <p:spPr>
          <a:xfrm flipV="1">
            <a:off x="2893008" y="1791395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1034167" y="1963502"/>
            <a:ext cx="1276028" cy="1570028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081037" y="1901614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15"/>
          </p:nvPr>
        </p:nvSpPr>
        <p:spPr>
          <a:xfrm>
            <a:off x="2928479" y="2375567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Up Arrow Callout 30"/>
          <p:cNvSpPr/>
          <p:nvPr userDrawn="1"/>
        </p:nvSpPr>
        <p:spPr>
          <a:xfrm flipV="1">
            <a:off x="7184454" y="1791395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372483" y="1901614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8"/>
          </p:nvPr>
        </p:nvSpPr>
        <p:spPr>
          <a:xfrm>
            <a:off x="7219926" y="2372087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Up Arrow Callout 33"/>
          <p:cNvSpPr/>
          <p:nvPr userDrawn="1"/>
        </p:nvSpPr>
        <p:spPr>
          <a:xfrm>
            <a:off x="722096" y="3997078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sz="1950"/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910124" y="434516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757567" y="4841305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Up Arrow Callout 36"/>
          <p:cNvSpPr/>
          <p:nvPr userDrawn="1"/>
        </p:nvSpPr>
        <p:spPr>
          <a:xfrm>
            <a:off x="5057089" y="3997078"/>
            <a:ext cx="1916033" cy="181179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 sz="1950"/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1"/>
          </p:nvPr>
        </p:nvSpPr>
        <p:spPr>
          <a:xfrm>
            <a:off x="5245117" y="4332332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2"/>
          </p:nvPr>
        </p:nvSpPr>
        <p:spPr>
          <a:xfrm>
            <a:off x="5092560" y="4815639"/>
            <a:ext cx="1845093" cy="86032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3196140" y="4041773"/>
            <a:ext cx="1276028" cy="1570028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629675" y="4041773"/>
            <a:ext cx="1276028" cy="1570028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5363134" y="1963502"/>
            <a:ext cx="1276028" cy="1570028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91440" anchor="b"/>
          <a:lstStyle>
            <a:lvl1pPr algn="ctr">
              <a:buNone/>
              <a:defRPr sz="8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6" name="Round Same Side Corner Rectangle 45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137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500"/>
                            </p:stCondLst>
                            <p:childTnLst>
                              <p:par>
                                <p:cTn id="6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0"/>
                            </p:stCondLst>
                            <p:childTnLst>
                              <p:par>
                                <p:cTn id="7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80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8500"/>
                            </p:stCondLst>
                            <p:childTnLst>
                              <p:par>
                                <p:cTn id="9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500"/>
                            </p:stCondLst>
                            <p:childTnLst>
                              <p:par>
                                <p:cTn id="10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9" grpId="0" animBg="1"/>
      <p:bldP spid="25" grpId="0" animBg="1"/>
      <p:bldP spid="2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/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6"/>
          </p:nvPr>
        </p:nvSpPr>
        <p:spPr>
          <a:xfrm>
            <a:off x="1381566" y="4639711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158454" y="2087867"/>
            <a:ext cx="1986201" cy="2443827"/>
          </a:xfrm>
          <a:prstGeom prst="diamond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7"/>
          </p:nvPr>
        </p:nvSpPr>
        <p:spPr>
          <a:xfrm>
            <a:off x="2779039" y="2555420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556223" y="3102893"/>
            <a:ext cx="1986201" cy="2443827"/>
          </a:xfrm>
          <a:prstGeom prst="diamond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4186407" y="4639711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3953993" y="2087867"/>
            <a:ext cx="1986201" cy="2443827"/>
          </a:xfrm>
          <a:prstGeom prst="diamond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3"/>
          </p:nvPr>
        </p:nvSpPr>
        <p:spPr>
          <a:xfrm>
            <a:off x="5585207" y="2555420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5351763" y="3102893"/>
            <a:ext cx="1986201" cy="2443827"/>
          </a:xfrm>
          <a:prstGeom prst="diamond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25"/>
          </p:nvPr>
        </p:nvSpPr>
        <p:spPr>
          <a:xfrm>
            <a:off x="6972645" y="4639711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749533" y="2087867"/>
            <a:ext cx="1986201" cy="2443827"/>
          </a:xfrm>
          <a:prstGeom prst="diamond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81124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2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animBg="1"/>
      <p:bldP spid="2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animBg="1"/>
      <p:bldP spid="4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98539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8540" y="3227943"/>
            <a:ext cx="2016304" cy="5612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16"/>
          </p:nvPr>
        </p:nvSpPr>
        <p:spPr>
          <a:xfrm>
            <a:off x="598540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844941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2844942" y="3227943"/>
            <a:ext cx="2016304" cy="561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8"/>
          </p:nvPr>
        </p:nvSpPr>
        <p:spPr>
          <a:xfrm>
            <a:off x="2844942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073791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5073792" y="3227943"/>
            <a:ext cx="2016304" cy="5612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0"/>
          </p:nvPr>
        </p:nvSpPr>
        <p:spPr>
          <a:xfrm>
            <a:off x="5073792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7302641" y="1409834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7302642" y="3227943"/>
            <a:ext cx="2016304" cy="5612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2"/>
          </p:nvPr>
        </p:nvSpPr>
        <p:spPr>
          <a:xfrm>
            <a:off x="7302642" y="3241367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8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598539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598540" y="5789416"/>
            <a:ext cx="2016304" cy="5612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4"/>
          </p:nvPr>
        </p:nvSpPr>
        <p:spPr>
          <a:xfrm>
            <a:off x="598540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1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2844941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2844942" y="5789416"/>
            <a:ext cx="2016304" cy="5612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3" name="Text Placeholder 3"/>
          <p:cNvSpPr>
            <a:spLocks noGrp="1"/>
          </p:cNvSpPr>
          <p:nvPr>
            <p:ph type="body" sz="half" idx="26"/>
          </p:nvPr>
        </p:nvSpPr>
        <p:spPr>
          <a:xfrm>
            <a:off x="2844942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4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5073791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5073792" y="5789416"/>
            <a:ext cx="2016304" cy="5612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6" name="Text Placeholder 3"/>
          <p:cNvSpPr>
            <a:spLocks noGrp="1"/>
          </p:cNvSpPr>
          <p:nvPr>
            <p:ph type="body" sz="half" idx="28"/>
          </p:nvPr>
        </p:nvSpPr>
        <p:spPr>
          <a:xfrm>
            <a:off x="5073792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7" name="Picture Placeholder 7"/>
          <p:cNvSpPr>
            <a:spLocks noGrp="1"/>
          </p:cNvSpPr>
          <p:nvPr>
            <p:ph type="pic" sz="quarter" idx="29" hasCustomPrompt="1"/>
          </p:nvPr>
        </p:nvSpPr>
        <p:spPr>
          <a:xfrm>
            <a:off x="7302641" y="3971308"/>
            <a:ext cx="2016304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7302642" y="5789416"/>
            <a:ext cx="2016304" cy="561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30"/>
          </p:nvPr>
        </p:nvSpPr>
        <p:spPr>
          <a:xfrm>
            <a:off x="7302642" y="5802840"/>
            <a:ext cx="2016304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734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/>
      <p:bldP spid="17" grpId="0" animBg="1"/>
      <p:bldP spid="4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/>
      <p:bldP spid="50" grpId="0" animBg="1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animBg="1"/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/>
      <p:bldP spid="56" grpId="0" animBg="1"/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/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/>
      <p:bldP spid="62" grpId="0" animBg="1"/>
      <p:bldP spid="64" grpId="0"/>
      <p:bldP spid="65" grpId="0" animBg="1"/>
      <p:bldP spid="6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/>
      <p:bldP spid="68" grpId="0" animBg="1"/>
      <p:bldP spid="6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567423" y="3924011"/>
            <a:ext cx="2074198" cy="22481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37" name="Rectangle 36"/>
          <p:cNvSpPr/>
          <p:nvPr userDrawn="1"/>
        </p:nvSpPr>
        <p:spPr>
          <a:xfrm>
            <a:off x="567423" y="1585988"/>
            <a:ext cx="2074198" cy="22481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25316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16"/>
          </p:nvPr>
        </p:nvSpPr>
        <p:spPr>
          <a:xfrm>
            <a:off x="834534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17"/>
          </p:nvPr>
        </p:nvSpPr>
        <p:spPr>
          <a:xfrm>
            <a:off x="681976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Rectangle 84"/>
          <p:cNvSpPr/>
          <p:nvPr userDrawn="1"/>
        </p:nvSpPr>
        <p:spPr>
          <a:xfrm>
            <a:off x="2802978" y="3924011"/>
            <a:ext cx="2074198" cy="22481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6" name="Rectangle 85"/>
          <p:cNvSpPr/>
          <p:nvPr userDrawn="1"/>
        </p:nvSpPr>
        <p:spPr>
          <a:xfrm>
            <a:off x="2802978" y="1585988"/>
            <a:ext cx="2074198" cy="22481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60871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19"/>
          </p:nvPr>
        </p:nvSpPr>
        <p:spPr>
          <a:xfrm>
            <a:off x="3070089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0"/>
          </p:nvPr>
        </p:nvSpPr>
        <p:spPr>
          <a:xfrm>
            <a:off x="2917531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0" name="Rectangle 89"/>
          <p:cNvSpPr/>
          <p:nvPr userDrawn="1"/>
        </p:nvSpPr>
        <p:spPr>
          <a:xfrm>
            <a:off x="5025123" y="3924011"/>
            <a:ext cx="2074198" cy="224818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1" name="Rectangle 90"/>
          <p:cNvSpPr/>
          <p:nvPr userDrawn="1"/>
        </p:nvSpPr>
        <p:spPr>
          <a:xfrm>
            <a:off x="5025123" y="1585988"/>
            <a:ext cx="2074198" cy="224818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2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083016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3" name="Text Placeholder 3"/>
          <p:cNvSpPr>
            <a:spLocks noGrp="1"/>
          </p:cNvSpPr>
          <p:nvPr>
            <p:ph type="body" sz="half" idx="22"/>
          </p:nvPr>
        </p:nvSpPr>
        <p:spPr>
          <a:xfrm>
            <a:off x="5292234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4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39676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5" name="Rectangle 94"/>
          <p:cNvSpPr/>
          <p:nvPr userDrawn="1"/>
        </p:nvSpPr>
        <p:spPr>
          <a:xfrm>
            <a:off x="7235590" y="3924011"/>
            <a:ext cx="2074198" cy="22481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6" name="Rectangle 95"/>
          <p:cNvSpPr/>
          <p:nvPr userDrawn="1"/>
        </p:nvSpPr>
        <p:spPr>
          <a:xfrm>
            <a:off x="7235590" y="1585988"/>
            <a:ext cx="2074198" cy="22481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97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293483" y="1656441"/>
            <a:ext cx="1961293" cy="207507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8" name="Text Placeholder 3"/>
          <p:cNvSpPr>
            <a:spLocks noGrp="1"/>
          </p:cNvSpPr>
          <p:nvPr>
            <p:ph type="body" sz="half" idx="25"/>
          </p:nvPr>
        </p:nvSpPr>
        <p:spPr>
          <a:xfrm>
            <a:off x="7502701" y="4091836"/>
            <a:ext cx="15399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26"/>
          </p:nvPr>
        </p:nvSpPr>
        <p:spPr>
          <a:xfrm>
            <a:off x="7350143" y="4591059"/>
            <a:ext cx="1845093" cy="144652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691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/>
      <p:bldP spid="37" grpId="0" animBg="1"/>
      <p:bldP spid="80" grpId="0"/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animBg="1"/>
      <p:bldP spid="86" grpId="0" animBg="1"/>
      <p:bldP spid="87" grpId="0"/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animBg="1"/>
      <p:bldP spid="91" grpId="0" animBg="1"/>
      <p:bldP spid="92" grpId="0"/>
      <p:bldP spid="9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/>
      <p:bldP spid="96" grpId="0" animBg="1"/>
      <p:bldP spid="97" grpId="0"/>
      <p:bldP spid="9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632200" y="1408767"/>
            <a:ext cx="2641600" cy="3250227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803069" y="5027960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31"/>
          </p:nvPr>
        </p:nvSpPr>
        <p:spPr>
          <a:xfrm>
            <a:off x="2758199" y="5868467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32"/>
          </p:nvPr>
        </p:nvSpPr>
        <p:spPr>
          <a:xfrm>
            <a:off x="5551691" y="5868467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33"/>
          </p:nvPr>
        </p:nvSpPr>
        <p:spPr>
          <a:xfrm>
            <a:off x="7512037" y="5027960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6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34"/>
          </p:nvPr>
        </p:nvSpPr>
        <p:spPr>
          <a:xfrm>
            <a:off x="4179635" y="5166947"/>
            <a:ext cx="1539976" cy="50897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47786" y="2411930"/>
            <a:ext cx="2050542" cy="2522991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502916" y="3281310"/>
            <a:ext cx="2050542" cy="2522991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296408" y="3281310"/>
            <a:ext cx="2050542" cy="2522991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256754" y="2411930"/>
            <a:ext cx="2050542" cy="2522991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000380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/>
      <p:bldP spid="63" grpId="0" animBg="1"/>
      <p:bldP spid="73" grpId="0" animBg="1"/>
      <p:bldP spid="83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1869656" y="1937835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86944" y="1963503"/>
            <a:ext cx="1267244" cy="1559220"/>
          </a:xfrm>
          <a:prstGeom prst="teardrop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1869656" y="2488391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860131" y="1937835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477419" y="1963503"/>
            <a:ext cx="1267244" cy="1559220"/>
          </a:xfrm>
          <a:prstGeom prst="teardrop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19"/>
          </p:nvPr>
        </p:nvSpPr>
        <p:spPr>
          <a:xfrm>
            <a:off x="4860131" y="2488391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568" y="1937835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1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469856" y="1963503"/>
            <a:ext cx="1267244" cy="1559220"/>
          </a:xfrm>
          <a:prstGeom prst="teardrop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2"/>
          </p:nvPr>
        </p:nvSpPr>
        <p:spPr>
          <a:xfrm>
            <a:off x="7852568" y="2488391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3" name="Text Placeholder 3"/>
          <p:cNvSpPr>
            <a:spLocks noGrp="1"/>
          </p:cNvSpPr>
          <p:nvPr>
            <p:ph type="body" sz="half" idx="23"/>
          </p:nvPr>
        </p:nvSpPr>
        <p:spPr>
          <a:xfrm>
            <a:off x="1869656" y="3983344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4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486944" y="4009013"/>
            <a:ext cx="1267244" cy="1559220"/>
          </a:xfrm>
          <a:prstGeom prst="teardrop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Text Placeholder 3"/>
          <p:cNvSpPr>
            <a:spLocks noGrp="1"/>
          </p:cNvSpPr>
          <p:nvPr>
            <p:ph type="body" sz="half" idx="25"/>
          </p:nvPr>
        </p:nvSpPr>
        <p:spPr>
          <a:xfrm>
            <a:off x="1869656" y="4533900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26"/>
          </p:nvPr>
        </p:nvSpPr>
        <p:spPr>
          <a:xfrm>
            <a:off x="4860131" y="3983344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3477419" y="4009013"/>
            <a:ext cx="1267244" cy="1559220"/>
          </a:xfrm>
          <a:prstGeom prst="teardrop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half" idx="28"/>
          </p:nvPr>
        </p:nvSpPr>
        <p:spPr>
          <a:xfrm>
            <a:off x="4860131" y="4533900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9"/>
          </p:nvPr>
        </p:nvSpPr>
        <p:spPr>
          <a:xfrm>
            <a:off x="7852568" y="3983344"/>
            <a:ext cx="1504576" cy="50897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1" baseline="0">
                <a:solidFill>
                  <a:schemeClr val="accent6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6469856" y="4009013"/>
            <a:ext cx="1267244" cy="1559220"/>
          </a:xfrm>
          <a:prstGeom prst="teardrop">
            <a:avLst/>
          </a:prstGeom>
          <a:ln w="28575">
            <a:solidFill>
              <a:schemeClr val="accent6"/>
            </a:solidFill>
          </a:ln>
        </p:spPr>
        <p:txBody>
          <a:bodyPr bIns="182880" anchor="b"/>
          <a:lstStyle>
            <a:lvl1pPr algn="ctr">
              <a:buNone/>
              <a:defRPr sz="9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31"/>
          </p:nvPr>
        </p:nvSpPr>
        <p:spPr>
          <a:xfrm>
            <a:off x="7852568" y="4533900"/>
            <a:ext cx="1504576" cy="114381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431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500"/>
                            </p:stCondLst>
                            <p:childTnLst>
                              <p:par>
                                <p:cTn id="7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000"/>
                            </p:stCondLst>
                            <p:childTnLst>
                              <p:par>
                                <p:cTn id="8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500"/>
                            </p:stCondLst>
                            <p:childTnLst>
                              <p:par>
                                <p:cTn id="8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9000"/>
                            </p:stCondLst>
                            <p:childTnLst>
                              <p:par>
                                <p:cTn id="9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500"/>
                            </p:stCondLst>
                            <p:childTnLst>
                              <p:par>
                                <p:cTn id="9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/>
      <p:bldP spid="7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/>
      <p:bldP spid="7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Rounded Rectangle 23"/>
          <p:cNvSpPr/>
          <p:nvPr userDrawn="1"/>
        </p:nvSpPr>
        <p:spPr>
          <a:xfrm>
            <a:off x="709284" y="1833721"/>
            <a:ext cx="4118901" cy="2245752"/>
          </a:xfrm>
          <a:prstGeom prst="roundRect">
            <a:avLst>
              <a:gd name="adj" fmla="val 36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918003" y="2005621"/>
            <a:ext cx="1518056" cy="1901952"/>
          </a:xfrm>
          <a:prstGeom prst="roundRect">
            <a:avLst>
              <a:gd name="adj" fmla="val 8424"/>
            </a:avLst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42325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animBg="1"/>
      <p:bldP spid="27" grpId="0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511762"/>
            <a:ext cx="3004717" cy="2841945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892631" y="1511762"/>
            <a:ext cx="3013370" cy="2841945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3004717" y="1511764"/>
            <a:ext cx="3887914" cy="28419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</p:spTree>
    <p:extLst>
      <p:ext uri="{BB962C8B-B14F-4D97-AF65-F5344CB8AC3E}">
        <p14:creationId xmlns:p14="http://schemas.microsoft.com/office/powerpoint/2010/main" val="3939442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890592" y="1431959"/>
            <a:ext cx="4306123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4890592" y="3429000"/>
            <a:ext cx="4306123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495977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  <p:bldP spid="13" grpId="0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7346950" y="3251201"/>
            <a:ext cx="2063750" cy="134119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239218" y="4703206"/>
            <a:ext cx="2063750" cy="134119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346950" y="1786333"/>
            <a:ext cx="2063750" cy="1365603"/>
            <a:chOff x="4750079" y="1706835"/>
            <a:chExt cx="1785974" cy="1044090"/>
          </a:xfrm>
        </p:grpSpPr>
        <p:sp>
          <p:nvSpPr>
            <p:cNvPr id="26" name="Rectangle 2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3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239218" y="1817965"/>
            <a:ext cx="2063750" cy="134119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5239218" y="3254528"/>
            <a:ext cx="2063750" cy="1365603"/>
            <a:chOff x="4750079" y="1706835"/>
            <a:chExt cx="1785974" cy="1044090"/>
          </a:xfrm>
        </p:grpSpPr>
        <p:sp>
          <p:nvSpPr>
            <p:cNvPr id="33" name="Rectangle 3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7346950" y="4706533"/>
            <a:ext cx="2063750" cy="1365603"/>
            <a:chOff x="4750079" y="1706835"/>
            <a:chExt cx="1785974" cy="1044090"/>
          </a:xfrm>
        </p:grpSpPr>
        <p:sp>
          <p:nvSpPr>
            <p:cNvPr id="36" name="Rectangle 3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</p:spTree>
    <p:extLst>
      <p:ext uri="{BB962C8B-B14F-4D97-AF65-F5344CB8AC3E}">
        <p14:creationId xmlns:p14="http://schemas.microsoft.com/office/powerpoint/2010/main" val="2564972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/>
      <p:bldP spid="8" grpId="0"/>
      <p:bldP spid="31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6EF17-3B04-4C26-8643-D1EC6B973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325B-C879-4F31-B04F-F4AFE78180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E16FF5-FA70-4C24-81D7-2CA7189C78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930235-52CA-4530-B123-D3996E543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E507F-16FC-423A-8E7F-2400F2FE3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21B986-8365-465B-A88F-928763A39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4365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450435" y="1694000"/>
            <a:ext cx="1848403" cy="2034883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7607162" y="1694000"/>
            <a:ext cx="1848403" cy="2034883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2" name="Group 31"/>
          <p:cNvGrpSpPr/>
          <p:nvPr userDrawn="1"/>
        </p:nvGrpSpPr>
        <p:grpSpPr>
          <a:xfrm>
            <a:off x="450435" y="3947368"/>
            <a:ext cx="1848403" cy="2034883"/>
            <a:chOff x="4750079" y="1706835"/>
            <a:chExt cx="1785974" cy="1044090"/>
          </a:xfrm>
        </p:grpSpPr>
        <p:sp>
          <p:nvSpPr>
            <p:cNvPr id="35" name="Rectangle 3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40" name="Group 39"/>
          <p:cNvGrpSpPr/>
          <p:nvPr userDrawn="1"/>
        </p:nvGrpSpPr>
        <p:grpSpPr>
          <a:xfrm>
            <a:off x="7607162" y="3947368"/>
            <a:ext cx="1848403" cy="2034883"/>
            <a:chOff x="4750079" y="1706835"/>
            <a:chExt cx="1785974" cy="1044090"/>
          </a:xfrm>
        </p:grpSpPr>
        <p:sp>
          <p:nvSpPr>
            <p:cNvPr id="41" name="Rectangle 40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4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2298838" y="1694000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019398" y="1694000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298838" y="3947368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019398" y="3947368"/>
            <a:ext cx="2584175" cy="2034883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9"/>
          </p:nvPr>
        </p:nvSpPr>
        <p:spPr>
          <a:xfrm>
            <a:off x="514550" y="2243103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20"/>
          </p:nvPr>
        </p:nvSpPr>
        <p:spPr>
          <a:xfrm>
            <a:off x="508841" y="1943100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21"/>
          </p:nvPr>
        </p:nvSpPr>
        <p:spPr>
          <a:xfrm>
            <a:off x="514550" y="4441675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2"/>
          </p:nvPr>
        </p:nvSpPr>
        <p:spPr>
          <a:xfrm>
            <a:off x="508841" y="4141672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23"/>
          </p:nvPr>
        </p:nvSpPr>
        <p:spPr>
          <a:xfrm>
            <a:off x="7685102" y="2243103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24"/>
          </p:nvPr>
        </p:nvSpPr>
        <p:spPr>
          <a:xfrm>
            <a:off x="7679393" y="1943100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5"/>
          </p:nvPr>
        </p:nvSpPr>
        <p:spPr>
          <a:xfrm>
            <a:off x="7685102" y="4492475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6"/>
          </p:nvPr>
        </p:nvSpPr>
        <p:spPr>
          <a:xfrm>
            <a:off x="7679393" y="4192472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183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/>
      <p:bldP spid="48" grpId="0"/>
      <p:bldP spid="49" grpId="0"/>
      <p:bldP spid="50" grpId="0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8"/>
          <p:cNvGrpSpPr/>
          <p:nvPr userDrawn="1"/>
        </p:nvGrpSpPr>
        <p:grpSpPr>
          <a:xfrm>
            <a:off x="0" y="1686200"/>
            <a:ext cx="1981200" cy="2243000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" name="Group 22"/>
          <p:cNvGrpSpPr/>
          <p:nvPr userDrawn="1"/>
        </p:nvGrpSpPr>
        <p:grpSpPr>
          <a:xfrm>
            <a:off x="3962400" y="1686200"/>
            <a:ext cx="1981200" cy="2243000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40" name="Group 22"/>
          <p:cNvGrpSpPr/>
          <p:nvPr userDrawn="1"/>
        </p:nvGrpSpPr>
        <p:grpSpPr>
          <a:xfrm>
            <a:off x="7924800" y="1686200"/>
            <a:ext cx="1981200" cy="2243000"/>
            <a:chOff x="4750079" y="1706835"/>
            <a:chExt cx="1785974" cy="1044090"/>
          </a:xfrm>
        </p:grpSpPr>
        <p:sp>
          <p:nvSpPr>
            <p:cNvPr id="43" name="Rectangle 4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61" name="Group 22"/>
          <p:cNvGrpSpPr/>
          <p:nvPr userDrawn="1"/>
        </p:nvGrpSpPr>
        <p:grpSpPr>
          <a:xfrm>
            <a:off x="5943600" y="3929200"/>
            <a:ext cx="1981200" cy="2243000"/>
            <a:chOff x="4750079" y="1706835"/>
            <a:chExt cx="1785974" cy="1044090"/>
          </a:xfrm>
        </p:grpSpPr>
        <p:sp>
          <p:nvSpPr>
            <p:cNvPr id="68" name="Rectangle 67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62" name="Group 22"/>
          <p:cNvGrpSpPr/>
          <p:nvPr userDrawn="1"/>
        </p:nvGrpSpPr>
        <p:grpSpPr>
          <a:xfrm>
            <a:off x="1981200" y="3929200"/>
            <a:ext cx="1981200" cy="2243000"/>
            <a:chOff x="4750079" y="1706835"/>
            <a:chExt cx="1785974" cy="1044090"/>
          </a:xfrm>
        </p:grpSpPr>
        <p:sp>
          <p:nvSpPr>
            <p:cNvPr id="66" name="Rectangle 6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7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981200" y="1686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943600" y="1686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3929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3962400" y="3929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7907285" y="3929200"/>
            <a:ext cx="1981200" cy="2243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1"/>
          </p:nvPr>
        </p:nvSpPr>
        <p:spPr>
          <a:xfrm>
            <a:off x="128989" y="2307681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2"/>
          </p:nvPr>
        </p:nvSpPr>
        <p:spPr>
          <a:xfrm>
            <a:off x="123280" y="2007679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23"/>
          </p:nvPr>
        </p:nvSpPr>
        <p:spPr>
          <a:xfrm>
            <a:off x="2115019" y="4613636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4"/>
          </p:nvPr>
        </p:nvSpPr>
        <p:spPr>
          <a:xfrm>
            <a:off x="2109310" y="4313633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25"/>
          </p:nvPr>
        </p:nvSpPr>
        <p:spPr>
          <a:xfrm>
            <a:off x="4106646" y="2307681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6"/>
          </p:nvPr>
        </p:nvSpPr>
        <p:spPr>
          <a:xfrm>
            <a:off x="4100938" y="2007679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27"/>
          </p:nvPr>
        </p:nvSpPr>
        <p:spPr>
          <a:xfrm>
            <a:off x="6082138" y="4613636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8"/>
          </p:nvPr>
        </p:nvSpPr>
        <p:spPr>
          <a:xfrm>
            <a:off x="6076429" y="4313633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9"/>
          </p:nvPr>
        </p:nvSpPr>
        <p:spPr>
          <a:xfrm>
            <a:off x="8088946" y="2307681"/>
            <a:ext cx="1693663" cy="127877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30"/>
          </p:nvPr>
        </p:nvSpPr>
        <p:spPr>
          <a:xfrm>
            <a:off x="8083237" y="2007679"/>
            <a:ext cx="1698405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341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/>
      <p:bldP spid="75" grpId="0"/>
      <p:bldP spid="76" grpId="0"/>
      <p:bldP spid="77" grpId="0"/>
      <p:bldP spid="78" grpId="0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08343" y="1496124"/>
            <a:ext cx="1987712" cy="3793125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893627" y="1496124"/>
            <a:ext cx="1927786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7258904" y="1496124"/>
            <a:ext cx="1927786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046690" y="3493167"/>
            <a:ext cx="1927786" cy="179608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2886608" y="3427294"/>
            <a:ext cx="1934805" cy="1861956"/>
            <a:chOff x="2664561" y="2570470"/>
            <a:chExt cx="1785974" cy="1396467"/>
          </a:xfrm>
        </p:grpSpPr>
        <p:sp>
          <p:nvSpPr>
            <p:cNvPr id="34" name="Rectangle 33"/>
            <p:cNvSpPr/>
            <p:nvPr/>
          </p:nvSpPr>
          <p:spPr>
            <a:xfrm>
              <a:off x="2664561" y="2570470"/>
              <a:ext cx="1785974" cy="134706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664561" y="2619875"/>
              <a:ext cx="1785974" cy="13470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6" name="Group 3"/>
          <p:cNvGrpSpPr/>
          <p:nvPr userDrawn="1"/>
        </p:nvGrpSpPr>
        <p:grpSpPr>
          <a:xfrm>
            <a:off x="7251884" y="3417134"/>
            <a:ext cx="1934805" cy="1872116"/>
            <a:chOff x="6694047" y="2562850"/>
            <a:chExt cx="1785974" cy="1404087"/>
          </a:xfrm>
        </p:grpSpPr>
        <p:sp>
          <p:nvSpPr>
            <p:cNvPr id="37" name="Rectangle 36"/>
            <p:cNvSpPr/>
            <p:nvPr/>
          </p:nvSpPr>
          <p:spPr>
            <a:xfrm>
              <a:off x="6694047" y="2562850"/>
              <a:ext cx="1785974" cy="1347062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694047" y="2619875"/>
              <a:ext cx="1785974" cy="13470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39" name="Group 2"/>
          <p:cNvGrpSpPr/>
          <p:nvPr userDrawn="1"/>
        </p:nvGrpSpPr>
        <p:grpSpPr>
          <a:xfrm>
            <a:off x="5046689" y="1496124"/>
            <a:ext cx="1934805" cy="1876243"/>
            <a:chOff x="4658482" y="1122093"/>
            <a:chExt cx="1785974" cy="1407182"/>
          </a:xfrm>
        </p:grpSpPr>
        <p:sp>
          <p:nvSpPr>
            <p:cNvPr id="40" name="Rectangle 39"/>
            <p:cNvSpPr/>
            <p:nvPr/>
          </p:nvSpPr>
          <p:spPr>
            <a:xfrm>
              <a:off x="4658482" y="1182213"/>
              <a:ext cx="1785974" cy="134706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4658482" y="1122093"/>
              <a:ext cx="1785974" cy="134706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</p:spTree>
    <p:extLst>
      <p:ext uri="{BB962C8B-B14F-4D97-AF65-F5344CB8AC3E}">
        <p14:creationId xmlns:p14="http://schemas.microsoft.com/office/powerpoint/2010/main" val="4104142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8" grpId="0"/>
      <p:bldP spid="31" grpId="0"/>
      <p:bldP spid="32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5145919" y="1907853"/>
            <a:ext cx="1934805" cy="1392120"/>
            <a:chOff x="4750079" y="1706835"/>
            <a:chExt cx="1785974" cy="1044090"/>
          </a:xfrm>
        </p:grpSpPr>
        <p:sp>
          <p:nvSpPr>
            <p:cNvPr id="45" name="Rectangle 4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47" name="Group 46"/>
          <p:cNvGrpSpPr/>
          <p:nvPr userDrawn="1"/>
        </p:nvGrpSpPr>
        <p:grpSpPr>
          <a:xfrm>
            <a:off x="7266464" y="1907853"/>
            <a:ext cx="1934805" cy="1392120"/>
            <a:chOff x="6707505" y="1706835"/>
            <a:chExt cx="1785974" cy="1044090"/>
          </a:xfrm>
        </p:grpSpPr>
        <p:sp>
          <p:nvSpPr>
            <p:cNvPr id="48" name="Rectangle 47"/>
            <p:cNvSpPr/>
            <p:nvPr/>
          </p:nvSpPr>
          <p:spPr>
            <a:xfrm>
              <a:off x="6707505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707505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50" name="Group 49"/>
          <p:cNvGrpSpPr/>
          <p:nvPr userDrawn="1"/>
        </p:nvGrpSpPr>
        <p:grpSpPr>
          <a:xfrm>
            <a:off x="5145919" y="3356131"/>
            <a:ext cx="1934805" cy="1393668"/>
            <a:chOff x="4750079" y="2793043"/>
            <a:chExt cx="1785974" cy="1045251"/>
          </a:xfrm>
        </p:grpSpPr>
        <p:sp>
          <p:nvSpPr>
            <p:cNvPr id="51" name="Rectangle 50"/>
            <p:cNvSpPr/>
            <p:nvPr/>
          </p:nvSpPr>
          <p:spPr>
            <a:xfrm>
              <a:off x="4750079" y="2793043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750079" y="2835254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7266464" y="3356131"/>
            <a:ext cx="1934805" cy="1393668"/>
            <a:chOff x="6707505" y="2793043"/>
            <a:chExt cx="1785974" cy="1045251"/>
          </a:xfrm>
        </p:grpSpPr>
        <p:sp>
          <p:nvSpPr>
            <p:cNvPr id="54" name="Rectangle 53"/>
            <p:cNvSpPr/>
            <p:nvPr/>
          </p:nvSpPr>
          <p:spPr>
            <a:xfrm>
              <a:off x="6707505" y="2793043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6707505" y="2835254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5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24632" y="1907853"/>
            <a:ext cx="4207731" cy="284194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80364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337124"/>
            <a:ext cx="9888485" cy="30065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393117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 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80183" y="1416445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80184" y="3221854"/>
            <a:ext cx="2818995" cy="5612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0" name="Round Same Side Corner Rectangle 9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7"/>
          </p:nvPr>
        </p:nvSpPr>
        <p:spPr>
          <a:xfrm>
            <a:off x="553173" y="3363020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529662" y="1416445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529663" y="3221854"/>
            <a:ext cx="2818995" cy="561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9"/>
          </p:nvPr>
        </p:nvSpPr>
        <p:spPr>
          <a:xfrm>
            <a:off x="3602652" y="3363020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6576998" y="1416445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576998" y="3221854"/>
            <a:ext cx="2818995" cy="5612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1"/>
          </p:nvPr>
        </p:nvSpPr>
        <p:spPr>
          <a:xfrm>
            <a:off x="6649988" y="3363020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80183" y="3990752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80184" y="5796160"/>
            <a:ext cx="2818995" cy="5612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23"/>
          </p:nvPr>
        </p:nvSpPr>
        <p:spPr>
          <a:xfrm>
            <a:off x="553173" y="5937327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3529662" y="3990752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3529663" y="5796160"/>
            <a:ext cx="2818995" cy="5612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5"/>
          </p:nvPr>
        </p:nvSpPr>
        <p:spPr>
          <a:xfrm>
            <a:off x="3602652" y="5937327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576998" y="3990752"/>
            <a:ext cx="2818996" cy="180540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6576998" y="5796160"/>
            <a:ext cx="2818995" cy="5612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7"/>
          </p:nvPr>
        </p:nvSpPr>
        <p:spPr>
          <a:xfrm>
            <a:off x="6649988" y="5937327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300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182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4" grpId="0" animBg="1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/>
      <p:bldP spid="15" grpId="0" animBg="1"/>
      <p:bldP spid="1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/>
      <p:bldP spid="18" grpId="0" animBg="1"/>
      <p:bldP spid="1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animBg="1"/>
      <p:bldP spid="2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animBg="1"/>
      <p:bldP spid="2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animBg="1"/>
      <p:bldP spid="2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549217" y="4674776"/>
            <a:ext cx="1962322" cy="13373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1" name="Rectangle 10"/>
          <p:cNvSpPr/>
          <p:nvPr userDrawn="1"/>
        </p:nvSpPr>
        <p:spPr>
          <a:xfrm>
            <a:off x="2769173" y="4674776"/>
            <a:ext cx="1962322" cy="13373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49218" y="1571392"/>
            <a:ext cx="4191626" cy="2841945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601187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1" grpId="0" animBg="1"/>
      <p:bldP spid="12" grpId="0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8650" y="1431958"/>
            <a:ext cx="3424153" cy="284194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17500" sx="1000" sy="1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3415503" y="1431958"/>
            <a:ext cx="6490497" cy="2841945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263152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9888484" cy="396666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425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15494" y="1639333"/>
            <a:ext cx="3987875" cy="430132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977458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CE78-FCC0-42E6-894B-2973EB157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3B1ACB-6D96-4471-86DA-C9CB9FE1C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4E87FF-D7BA-4329-83C7-4B9541F88D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02C865-898D-423E-8291-302C77E222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1FE233-3613-4F26-98AA-A2316D11DA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CF02B9-22FF-4471-9150-5DEB547FD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937460-E248-4375-981C-3B807B9DD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BFEDCA-F5A4-4B4C-A93D-B16B5178A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27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077815" y="0"/>
            <a:ext cx="4828185" cy="6858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230319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4828185" cy="68580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485907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95891" y="3992397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014051" y="3992397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720508" y="1611404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7308487" y="1611404"/>
            <a:ext cx="2175303" cy="220173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2720508" y="3813144"/>
            <a:ext cx="2175303" cy="238099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90570">
              <a:spcBef>
                <a:spcPct val="20000"/>
              </a:spcBef>
              <a:defRPr/>
            </a:pPr>
            <a:endParaRPr lang="en-US" sz="4333">
              <a:latin typeface="FontAwesome" pitchFamily="2" charset="0"/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95891" y="1611405"/>
            <a:ext cx="2175303" cy="238099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90570">
              <a:spcBef>
                <a:spcPct val="20000"/>
              </a:spcBef>
              <a:defRPr/>
            </a:pPr>
            <a:endParaRPr lang="en-US" sz="4767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5014051" y="1611404"/>
            <a:ext cx="2175303" cy="238099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90570">
              <a:spcBef>
                <a:spcPct val="20000"/>
              </a:spcBef>
              <a:defRPr/>
            </a:pPr>
            <a:r>
              <a:rPr lang="en-US" sz="1083"/>
              <a:t> </a:t>
            </a:r>
          </a:p>
          <a:p>
            <a:pPr lvl="0" algn="ctr" defTabSz="990570">
              <a:spcBef>
                <a:spcPct val="20000"/>
              </a:spcBef>
              <a:defRPr/>
            </a:pPr>
            <a:br>
              <a:rPr lang="en-US" sz="1300" b="1">
                <a:solidFill>
                  <a:schemeClr val="bg1">
                    <a:lumMod val="95000"/>
                  </a:schemeClr>
                </a:solidFill>
              </a:rPr>
            </a:br>
            <a:br>
              <a:rPr lang="en-US" sz="1300" b="1">
                <a:solidFill>
                  <a:schemeClr val="bg1">
                    <a:lumMod val="95000"/>
                  </a:schemeClr>
                </a:solidFill>
              </a:rPr>
            </a:br>
            <a:endParaRPr lang="en-US" sz="1733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7308487" y="3813144"/>
            <a:ext cx="2175303" cy="238099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>
              <a:spcBef>
                <a:spcPct val="20000"/>
              </a:spcBef>
              <a:defRPr/>
            </a:pPr>
            <a:endParaRPr lang="en-US" sz="1300" b="1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157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/>
      <p:bldP spid="52" grpId="0"/>
      <p:bldP spid="53" grpId="0"/>
      <p:bldP spid="36" grpId="0" animBg="1"/>
      <p:bldP spid="35" grpId="0" animBg="1"/>
      <p:bldP spid="39" grpId="0" animBg="1"/>
      <p:bldP spid="4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5107619" y="2195018"/>
            <a:ext cx="4087652" cy="2697948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97323" y="2182184"/>
            <a:ext cx="4087652" cy="2710781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half" idx="15"/>
          </p:nvPr>
        </p:nvSpPr>
        <p:spPr>
          <a:xfrm>
            <a:off x="703029" y="5193235"/>
            <a:ext cx="4076240" cy="84679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7"/>
          </p:nvPr>
        </p:nvSpPr>
        <p:spPr>
          <a:xfrm>
            <a:off x="697321" y="4918632"/>
            <a:ext cx="408765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9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13325" y="5193235"/>
            <a:ext cx="4076240" cy="84679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 Placeholder 3"/>
          <p:cNvSpPr>
            <a:spLocks noGrp="1"/>
          </p:cNvSpPr>
          <p:nvPr>
            <p:ph type="body" sz="half" idx="25"/>
          </p:nvPr>
        </p:nvSpPr>
        <p:spPr>
          <a:xfrm>
            <a:off x="5107618" y="4918632"/>
            <a:ext cx="408765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703027" y="1672313"/>
            <a:ext cx="4076241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6"/>
          </p:nvPr>
        </p:nvSpPr>
        <p:spPr>
          <a:xfrm>
            <a:off x="728577" y="1773356"/>
            <a:ext cx="4025143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5113324" y="1672313"/>
            <a:ext cx="4076241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61" name="Text Placeholder 3"/>
          <p:cNvSpPr>
            <a:spLocks noGrp="1"/>
          </p:cNvSpPr>
          <p:nvPr>
            <p:ph type="body" sz="half" idx="24"/>
          </p:nvPr>
        </p:nvSpPr>
        <p:spPr>
          <a:xfrm>
            <a:off x="5138874" y="1773356"/>
            <a:ext cx="4025143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008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38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  <p:bldP spid="4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animBg="1"/>
      <p:bldP spid="6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97323" y="2220285"/>
            <a:ext cx="2699526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703029" y="5155135"/>
            <a:ext cx="2693821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697321" y="4880532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703028" y="1710413"/>
            <a:ext cx="2693821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804502" y="1830583"/>
            <a:ext cx="2490874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611565" y="2220285"/>
            <a:ext cx="2699526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19"/>
          </p:nvPr>
        </p:nvSpPr>
        <p:spPr>
          <a:xfrm>
            <a:off x="3617271" y="5155135"/>
            <a:ext cx="2693821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0"/>
          </p:nvPr>
        </p:nvSpPr>
        <p:spPr>
          <a:xfrm>
            <a:off x="3611563" y="4880532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3" name="Rectangle 82"/>
          <p:cNvSpPr/>
          <p:nvPr userDrawn="1"/>
        </p:nvSpPr>
        <p:spPr>
          <a:xfrm>
            <a:off x="3617270" y="1710413"/>
            <a:ext cx="2693821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1"/>
          </p:nvPr>
        </p:nvSpPr>
        <p:spPr>
          <a:xfrm>
            <a:off x="3718743" y="1830583"/>
            <a:ext cx="2490874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5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6521452" y="2220285"/>
            <a:ext cx="2699526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3"/>
          </p:nvPr>
        </p:nvSpPr>
        <p:spPr>
          <a:xfrm>
            <a:off x="6527158" y="5155135"/>
            <a:ext cx="2693821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4"/>
          </p:nvPr>
        </p:nvSpPr>
        <p:spPr>
          <a:xfrm>
            <a:off x="6521450" y="4880532"/>
            <a:ext cx="2701363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8" name="Rectangle 87"/>
          <p:cNvSpPr/>
          <p:nvPr userDrawn="1"/>
        </p:nvSpPr>
        <p:spPr>
          <a:xfrm>
            <a:off x="6527157" y="1710413"/>
            <a:ext cx="2693821" cy="5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5"/>
          </p:nvPr>
        </p:nvSpPr>
        <p:spPr>
          <a:xfrm>
            <a:off x="6628631" y="1830583"/>
            <a:ext cx="2490874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02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3" grpId="0" animBg="1"/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/>
      <p:bldP spid="8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8" grpId="0" animBg="1"/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18313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563996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558287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624018" y="1604356"/>
            <a:ext cx="2023356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700236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53199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9"/>
          </p:nvPr>
        </p:nvSpPr>
        <p:spPr>
          <a:xfrm>
            <a:off x="2798882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0"/>
          </p:nvPr>
        </p:nvSpPr>
        <p:spPr>
          <a:xfrm>
            <a:off x="2793173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2858904" y="1604356"/>
            <a:ext cx="2023356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1"/>
          </p:nvPr>
        </p:nvSpPr>
        <p:spPr>
          <a:xfrm>
            <a:off x="2935122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5074909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3"/>
          </p:nvPr>
        </p:nvSpPr>
        <p:spPr>
          <a:xfrm>
            <a:off x="5020592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24"/>
          </p:nvPr>
        </p:nvSpPr>
        <p:spPr>
          <a:xfrm>
            <a:off x="5014883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5080614" y="1604356"/>
            <a:ext cx="2023356" cy="5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25"/>
          </p:nvPr>
        </p:nvSpPr>
        <p:spPr>
          <a:xfrm>
            <a:off x="5156832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7283151" y="2114227"/>
            <a:ext cx="2027640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7"/>
          </p:nvPr>
        </p:nvSpPr>
        <p:spPr>
          <a:xfrm>
            <a:off x="7228833" y="5028135"/>
            <a:ext cx="2093697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8"/>
          </p:nvPr>
        </p:nvSpPr>
        <p:spPr>
          <a:xfrm>
            <a:off x="7223125" y="4753532"/>
            <a:ext cx="2099559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7288856" y="1604356"/>
            <a:ext cx="2023356" cy="5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9"/>
          </p:nvPr>
        </p:nvSpPr>
        <p:spPr>
          <a:xfrm>
            <a:off x="7365074" y="1724526"/>
            <a:ext cx="187092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615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/>
      <p:bldP spid="4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45007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490690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84981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550713" y="1622925"/>
            <a:ext cx="1665447" cy="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613448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326277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half" idx="19"/>
          </p:nvPr>
        </p:nvSpPr>
        <p:spPr>
          <a:xfrm>
            <a:off x="2271960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5" name="Text Placeholder 3"/>
          <p:cNvSpPr>
            <a:spLocks noGrp="1"/>
          </p:cNvSpPr>
          <p:nvPr>
            <p:ph type="body" sz="half" idx="20"/>
          </p:nvPr>
        </p:nvSpPr>
        <p:spPr>
          <a:xfrm>
            <a:off x="2266251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2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6" name="Rectangle 65"/>
          <p:cNvSpPr/>
          <p:nvPr userDrawn="1"/>
        </p:nvSpPr>
        <p:spPr>
          <a:xfrm>
            <a:off x="2331982" y="1622925"/>
            <a:ext cx="1665447" cy="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21"/>
          </p:nvPr>
        </p:nvSpPr>
        <p:spPr>
          <a:xfrm>
            <a:off x="2394718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110761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23"/>
          </p:nvPr>
        </p:nvSpPr>
        <p:spPr>
          <a:xfrm>
            <a:off x="4056444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4"/>
          </p:nvPr>
        </p:nvSpPr>
        <p:spPr>
          <a:xfrm>
            <a:off x="4050735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3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1" name="Rectangle 70"/>
          <p:cNvSpPr/>
          <p:nvPr userDrawn="1"/>
        </p:nvSpPr>
        <p:spPr>
          <a:xfrm>
            <a:off x="4116466" y="1622925"/>
            <a:ext cx="1665447" cy="5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5"/>
          </p:nvPr>
        </p:nvSpPr>
        <p:spPr>
          <a:xfrm>
            <a:off x="4179202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891638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half" idx="27"/>
          </p:nvPr>
        </p:nvSpPr>
        <p:spPr>
          <a:xfrm>
            <a:off x="5837322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8"/>
          </p:nvPr>
        </p:nvSpPr>
        <p:spPr>
          <a:xfrm>
            <a:off x="5831613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4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1" name="Rectangle 80"/>
          <p:cNvSpPr/>
          <p:nvPr userDrawn="1"/>
        </p:nvSpPr>
        <p:spPr>
          <a:xfrm>
            <a:off x="5897344" y="1622925"/>
            <a:ext cx="1665447" cy="5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9"/>
          </p:nvPr>
        </p:nvSpPr>
        <p:spPr>
          <a:xfrm>
            <a:off x="5960080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667578" y="2132797"/>
            <a:ext cx="1668974" cy="2522991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1"/>
          </p:nvPr>
        </p:nvSpPr>
        <p:spPr>
          <a:xfrm>
            <a:off x="7613262" y="5059404"/>
            <a:ext cx="1723345" cy="846795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92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algn="ctr"/>
            <a:endParaRPr lang="en-US" sz="1083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2"/>
          </p:nvPr>
        </p:nvSpPr>
        <p:spPr>
          <a:xfrm>
            <a:off x="7607552" y="4784801"/>
            <a:ext cx="1728170" cy="25704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accent5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  <p:sp>
        <p:nvSpPr>
          <p:cNvPr id="86" name="Rectangle 85"/>
          <p:cNvSpPr/>
          <p:nvPr userDrawn="1"/>
        </p:nvSpPr>
        <p:spPr>
          <a:xfrm>
            <a:off x="7673284" y="1622925"/>
            <a:ext cx="1665447" cy="50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17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33"/>
          </p:nvPr>
        </p:nvSpPr>
        <p:spPr>
          <a:xfrm>
            <a:off x="7736019" y="1743095"/>
            <a:ext cx="153997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/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1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9000"/>
                            </p:stCondLst>
                            <p:childTnLst>
                              <p:par>
                                <p:cTn id="10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500"/>
                            </p:stCondLst>
                            <p:childTnLst>
                              <p:par>
                                <p:cTn id="110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/>
      <p:bldP spid="6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6" grpId="0" animBg="1"/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/>
      <p:bldP spid="7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1" grpId="0" animBg="1"/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/>
      <p:bldP spid="8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6" grpId="0" animBg="1"/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1" name="Group 300"/>
          <p:cNvGrpSpPr/>
          <p:nvPr userDrawn="1"/>
        </p:nvGrpSpPr>
        <p:grpSpPr>
          <a:xfrm>
            <a:off x="497304" y="1872883"/>
            <a:ext cx="4206066" cy="2707424"/>
            <a:chOff x="2844800" y="1304396"/>
            <a:chExt cx="2803525" cy="1466250"/>
          </a:xfrm>
        </p:grpSpPr>
        <p:grpSp>
          <p:nvGrpSpPr>
            <p:cNvPr id="3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  <p:grpSp>
          <p:nvGrpSpPr>
            <p:cNvPr id="3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3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</p:grpSp>
      <p:sp>
        <p:nvSpPr>
          <p:cNvPr id="4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168940" y="2013587"/>
            <a:ext cx="2872320" cy="2180896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158344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29"/>
          <p:cNvGrpSpPr/>
          <p:nvPr userDrawn="1"/>
        </p:nvGrpSpPr>
        <p:grpSpPr>
          <a:xfrm>
            <a:off x="4171174" y="1731349"/>
            <a:ext cx="1580739" cy="4155551"/>
            <a:chOff x="3205386" y="1562392"/>
            <a:chExt cx="1459144" cy="3116662"/>
          </a:xfrm>
          <a:effectLst/>
        </p:grpSpPr>
        <p:sp>
          <p:nvSpPr>
            <p:cNvPr id="19" name="Freeform 18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3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280976" y="2303485"/>
            <a:ext cx="1361136" cy="3043737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50532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0" y="4365006"/>
            <a:ext cx="9906000" cy="249299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cxnSp>
        <p:nvCxnSpPr>
          <p:cNvPr id="38" name="Straight Line buttom"/>
          <p:cNvCxnSpPr/>
          <p:nvPr userDrawn="1"/>
        </p:nvCxnSpPr>
        <p:spPr>
          <a:xfrm>
            <a:off x="0" y="4365005"/>
            <a:ext cx="9906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3606405" y="1934377"/>
            <a:ext cx="2765460" cy="2708115"/>
            <a:chOff x="2094899" y="1081795"/>
            <a:chExt cx="4400683" cy="3501414"/>
          </a:xfrm>
        </p:grpSpPr>
        <p:sp>
          <p:nvSpPr>
            <p:cNvPr id="20" name="Rectangle 19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 sz="1950"/>
            </a:p>
          </p:txBody>
        </p:sp>
        <p:sp>
          <p:nvSpPr>
            <p:cNvPr id="31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1950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1950"/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r>
                <a:rPr lang="en-US" sz="1950"/>
                <a:t> </a:t>
              </a: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1950"/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732247" y="2062632"/>
            <a:ext cx="2511365" cy="1747861"/>
          </a:xfrm>
          <a:prstGeom prst="rect">
            <a:avLst/>
          </a:prstGeom>
          <a:ln>
            <a:noFill/>
          </a:ln>
        </p:spPr>
        <p:txBody>
          <a:bodyPr tIns="0" bIns="27432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17120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23F35-CF7E-4F3D-9E44-541066675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760A53-0C68-449C-9A4C-07C1229AC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2051C4-7077-4AF5-AB0E-7D00AC53B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811ADA-089B-4CB4-9087-9CFF52681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2945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Line buttom"/>
          <p:cNvCxnSpPr/>
          <p:nvPr userDrawn="1"/>
        </p:nvCxnSpPr>
        <p:spPr>
          <a:xfrm>
            <a:off x="0" y="4363412"/>
            <a:ext cx="9906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 userDrawn="1"/>
        </p:nvSpPr>
        <p:spPr>
          <a:xfrm>
            <a:off x="0" y="4365006"/>
            <a:ext cx="9906000" cy="249299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grpSp>
        <p:nvGrpSpPr>
          <p:cNvPr id="31" name="Group 29"/>
          <p:cNvGrpSpPr/>
          <p:nvPr userDrawn="1"/>
        </p:nvGrpSpPr>
        <p:grpSpPr>
          <a:xfrm>
            <a:off x="734056" y="1431958"/>
            <a:ext cx="1785048" cy="4642471"/>
            <a:chOff x="3189614" y="1562392"/>
            <a:chExt cx="1474916" cy="3116662"/>
          </a:xfrm>
          <a:effectLst/>
        </p:grpSpPr>
        <p:sp>
          <p:nvSpPr>
            <p:cNvPr id="33" name="Freeform 32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grpSp>
          <p:nvGrpSpPr>
            <p:cNvPr id="34" name="Group 20"/>
            <p:cNvGrpSpPr/>
            <p:nvPr/>
          </p:nvGrpSpPr>
          <p:grpSpPr>
            <a:xfrm>
              <a:off x="3189738" y="1991495"/>
              <a:ext cx="23663" cy="645898"/>
              <a:chOff x="3392428" y="1951545"/>
              <a:chExt cx="27432" cy="735419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3392428" y="1951545"/>
                <a:ext cx="18288" cy="17282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3401572" y="2289545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3401572" y="2568092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</p:grpSp>
        <p:sp>
          <p:nvSpPr>
            <p:cNvPr id="35" name="Freeform 34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pic>
        <p:nvPicPr>
          <p:cNvPr id="44" name="Picture 43" descr="shadow.png"/>
          <p:cNvPicPr>
            <a:picLocks noChangeAspect="1"/>
          </p:cNvPicPr>
          <p:nvPr userDrawn="1"/>
        </p:nvPicPr>
        <p:blipFill>
          <a:blip r:embed="rId2" cstate="print">
            <a:biLevel thresh="50000"/>
          </a:blip>
          <a:stretch>
            <a:fillRect/>
          </a:stretch>
        </p:blipFill>
        <p:spPr>
          <a:xfrm>
            <a:off x="407382" y="6074429"/>
            <a:ext cx="2514126" cy="317500"/>
          </a:xfrm>
          <a:prstGeom prst="rect">
            <a:avLst/>
          </a:prstGeom>
        </p:spPr>
      </p:pic>
      <p:sp>
        <p:nvSpPr>
          <p:cNvPr id="4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75811" y="2085073"/>
            <a:ext cx="1520625" cy="338644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151677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/>
      <p:bldP spid="45" grpId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516147" y="1602393"/>
            <a:ext cx="4767407" cy="4668552"/>
            <a:chOff x="2094899" y="1081795"/>
            <a:chExt cx="4400683" cy="3501414"/>
          </a:xfrm>
        </p:grpSpPr>
        <p:sp>
          <p:nvSpPr>
            <p:cNvPr id="22" name="Rectangle 21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5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50"/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sz="1950"/>
                <a:t> </a:t>
              </a:r>
            </a:p>
          </p:txBody>
        </p:sp>
        <p:sp>
          <p:nvSpPr>
            <p:cNvPr id="26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50"/>
            </a:p>
          </p:txBody>
        </p:sp>
      </p:grpSp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719781" y="1823491"/>
            <a:ext cx="4342675" cy="301315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222079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151016" y="1674245"/>
            <a:ext cx="3603968" cy="5748840"/>
            <a:chOff x="2908630" y="1255684"/>
            <a:chExt cx="3326740" cy="4311630"/>
          </a:xfrm>
        </p:grpSpPr>
        <p:grpSp>
          <p:nvGrpSpPr>
            <p:cNvPr id="14" name="Group 66"/>
            <p:cNvGrpSpPr/>
            <p:nvPr/>
          </p:nvGrpSpPr>
          <p:grpSpPr>
            <a:xfrm>
              <a:off x="2908630" y="1255684"/>
              <a:ext cx="3326740" cy="4311630"/>
              <a:chOff x="1208088" y="2017712"/>
              <a:chExt cx="1206500" cy="1563688"/>
            </a:xfrm>
          </p:grpSpPr>
          <p:sp>
            <p:nvSpPr>
              <p:cNvPr id="18" name="Rectangle 6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19" name="Rectangle 7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20" name="Freeform 8"/>
              <p:cNvSpPr>
                <a:spLocks noEditPoints="1"/>
              </p:cNvSpPr>
              <p:nvPr/>
            </p:nvSpPr>
            <p:spPr bwMode="auto">
              <a:xfrm>
                <a:off x="1208088" y="2017712"/>
                <a:ext cx="1206500" cy="1563688"/>
              </a:xfrm>
              <a:custGeom>
                <a:avLst/>
                <a:gdLst/>
                <a:ahLst/>
                <a:cxnLst>
                  <a:cxn ang="0">
                    <a:pos x="666" y="35"/>
                  </a:cxn>
                  <a:cxn ang="0">
                    <a:pos x="631" y="0"/>
                  </a:cxn>
                  <a:cxn ang="0">
                    <a:pos x="34" y="0"/>
                  </a:cxn>
                  <a:cxn ang="0">
                    <a:pos x="0" y="35"/>
                  </a:cxn>
                  <a:cxn ang="0">
                    <a:pos x="0" y="829"/>
                  </a:cxn>
                  <a:cxn ang="0">
                    <a:pos x="34" y="864"/>
                  </a:cxn>
                  <a:cxn ang="0">
                    <a:pos x="631" y="864"/>
                  </a:cxn>
                  <a:cxn ang="0">
                    <a:pos x="666" y="829"/>
                  </a:cxn>
                  <a:cxn ang="0">
                    <a:pos x="666" y="35"/>
                  </a:cxn>
                  <a:cxn ang="0">
                    <a:pos x="597" y="791"/>
                  </a:cxn>
                  <a:cxn ang="0">
                    <a:pos x="66" y="791"/>
                  </a:cxn>
                  <a:cxn ang="0">
                    <a:pos x="66" y="76"/>
                  </a:cxn>
                  <a:cxn ang="0">
                    <a:pos x="597" y="76"/>
                  </a:cxn>
                  <a:cxn ang="0">
                    <a:pos x="597" y="791"/>
                  </a:cxn>
                </a:cxnLst>
                <a:rect l="0" t="0" r="r" b="b"/>
                <a:pathLst>
                  <a:path w="666" h="864">
                    <a:moveTo>
                      <a:pt x="666" y="35"/>
                    </a:moveTo>
                    <a:cubicBezTo>
                      <a:pt x="666" y="16"/>
                      <a:pt x="650" y="0"/>
                      <a:pt x="631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6"/>
                      <a:pt x="0" y="35"/>
                    </a:cubicBezTo>
                    <a:cubicBezTo>
                      <a:pt x="0" y="829"/>
                      <a:pt x="0" y="829"/>
                      <a:pt x="0" y="829"/>
                    </a:cubicBezTo>
                    <a:cubicBezTo>
                      <a:pt x="0" y="849"/>
                      <a:pt x="15" y="864"/>
                      <a:pt x="34" y="864"/>
                    </a:cubicBezTo>
                    <a:cubicBezTo>
                      <a:pt x="631" y="864"/>
                      <a:pt x="631" y="864"/>
                      <a:pt x="631" y="864"/>
                    </a:cubicBezTo>
                    <a:cubicBezTo>
                      <a:pt x="650" y="864"/>
                      <a:pt x="666" y="849"/>
                      <a:pt x="666" y="829"/>
                    </a:cubicBezTo>
                    <a:cubicBezTo>
                      <a:pt x="666" y="35"/>
                      <a:pt x="666" y="35"/>
                      <a:pt x="666" y="35"/>
                    </a:cubicBezTo>
                    <a:moveTo>
                      <a:pt x="597" y="791"/>
                    </a:moveTo>
                    <a:cubicBezTo>
                      <a:pt x="66" y="791"/>
                      <a:pt x="66" y="791"/>
                      <a:pt x="66" y="791"/>
                    </a:cubicBezTo>
                    <a:cubicBezTo>
                      <a:pt x="66" y="76"/>
                      <a:pt x="66" y="76"/>
                      <a:pt x="66" y="76"/>
                    </a:cubicBezTo>
                    <a:cubicBezTo>
                      <a:pt x="597" y="76"/>
                      <a:pt x="597" y="76"/>
                      <a:pt x="597" y="76"/>
                    </a:cubicBezTo>
                    <a:cubicBezTo>
                      <a:pt x="597" y="791"/>
                      <a:pt x="597" y="791"/>
                      <a:pt x="597" y="791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  <p:sp>
          <p:nvSpPr>
            <p:cNvPr id="15" name="Oval 14"/>
            <p:cNvSpPr/>
            <p:nvPr/>
          </p:nvSpPr>
          <p:spPr>
            <a:xfrm>
              <a:off x="4471627" y="1357124"/>
              <a:ext cx="200746" cy="2007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50"/>
            </a:p>
          </p:txBody>
        </p:sp>
      </p:grpSp>
      <p:sp>
        <p:nvSpPr>
          <p:cNvPr id="2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482961" y="2170340"/>
            <a:ext cx="2897402" cy="4768328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539815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1" name="Group 300"/>
          <p:cNvGrpSpPr/>
          <p:nvPr userDrawn="1"/>
        </p:nvGrpSpPr>
        <p:grpSpPr>
          <a:xfrm>
            <a:off x="809497" y="1975549"/>
            <a:ext cx="4206066" cy="2707424"/>
            <a:chOff x="2844800" y="1304396"/>
            <a:chExt cx="2803525" cy="1466250"/>
          </a:xfrm>
        </p:grpSpPr>
        <p:grpSp>
          <p:nvGrpSpPr>
            <p:cNvPr id="4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4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  <p:grpSp>
          <p:nvGrpSpPr>
            <p:cNvPr id="4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  <p:sp>
            <p:nvSpPr>
              <p:cNvPr id="4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950"/>
              </a:p>
            </p:txBody>
          </p:sp>
        </p:grpSp>
      </p:grpSp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481133" y="2116253"/>
            <a:ext cx="2872320" cy="2180896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450621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4100" y="356628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6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4100" y="825950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51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6731802"/>
            <a:ext cx="9906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50"/>
              </a:p>
            </p:txBody>
          </p:sp>
        </p:grpSp>
      </p:grpSp>
      <p:sp>
        <p:nvSpPr>
          <p:cNvPr id="31" name="Flowchart: Off-page Connector 30"/>
          <p:cNvSpPr/>
          <p:nvPr userDrawn="1"/>
        </p:nvSpPr>
        <p:spPr>
          <a:xfrm>
            <a:off x="9340697" y="317598"/>
            <a:ext cx="312038" cy="314532"/>
          </a:xfrm>
          <a:prstGeom prst="flowChartOffpage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/>
          </a:p>
        </p:txBody>
      </p:sp>
      <p:sp>
        <p:nvSpPr>
          <p:cNvPr id="3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253964" y="263969"/>
            <a:ext cx="495821" cy="366183"/>
          </a:xfrm>
          <a:prstGeom prst="rect">
            <a:avLst/>
          </a:prstGeom>
        </p:spPr>
        <p:txBody>
          <a:bodyPr anchor="ctr"/>
          <a:lstStyle>
            <a:lvl1pPr algn="ctr">
              <a:defRPr sz="1083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041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679900"/>
            <a:ext cx="9906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6885" y="3993375"/>
            <a:ext cx="9336293" cy="99532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885" y="5179566"/>
            <a:ext cx="7236915" cy="4431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r>
              <a:rPr lang="en-US"/>
              <a:t>Departmen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73349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2060576"/>
            <a:ext cx="9362546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39498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Tex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4848" y="1524000"/>
            <a:ext cx="9369425" cy="1338828"/>
          </a:xfr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8760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1066801"/>
            <a:ext cx="62562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 sz="1600" b="1"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74634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201" y="1627632"/>
            <a:ext cx="9366811" cy="276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1" y="2157985"/>
            <a:ext cx="9366880" cy="276999"/>
          </a:xfrm>
          <a:ln>
            <a:noFill/>
          </a:ln>
        </p:spPr>
        <p:txBody>
          <a:bodyPr/>
          <a:lstStyle>
            <a:lvl1pPr marL="346075" indent="-346075">
              <a:buClr>
                <a:schemeClr val="accent1"/>
              </a:buClr>
              <a:buFont typeface="Arial" panose="020B0604020202020204" pitchFamily="34" charset="0"/>
              <a:buChar char="■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2643503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0A68A7-ACFC-40A9-8D8D-91FF47388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517E4A-961C-4DF4-878D-E566E421B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0A625-F889-4145-B2F3-A716028EC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4550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Page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3721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71729" y="1115846"/>
            <a:ext cx="7685647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355380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27955" y="237069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3257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59996" y="3352914"/>
            <a:ext cx="2318107" cy="914400"/>
          </a:xfrm>
          <a:custGeom>
            <a:avLst/>
            <a:gdLst/>
            <a:ahLst/>
            <a:cxnLst/>
            <a:rect l="l" t="t" r="r" b="b"/>
            <a:pathLst>
              <a:path w="2853055" h="914400">
                <a:moveTo>
                  <a:pt x="0" y="0"/>
                </a:moveTo>
                <a:lnTo>
                  <a:pt x="2852707" y="0"/>
                </a:lnTo>
                <a:lnTo>
                  <a:pt x="2852707" y="914399"/>
                </a:lnTo>
                <a:lnTo>
                  <a:pt x="0" y="914399"/>
                </a:lnTo>
                <a:lnTo>
                  <a:pt x="0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4/2019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59173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605969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108153" y="1145311"/>
            <a:ext cx="2877414" cy="39716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k object 17"/>
          <p:cNvSpPr/>
          <p:nvPr/>
        </p:nvSpPr>
        <p:spPr>
          <a:xfrm>
            <a:off x="4096544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bk object 18"/>
          <p:cNvSpPr/>
          <p:nvPr/>
        </p:nvSpPr>
        <p:spPr>
          <a:xfrm>
            <a:off x="1230748" y="1145311"/>
            <a:ext cx="2877404" cy="39716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bk object 19"/>
          <p:cNvSpPr/>
          <p:nvPr/>
        </p:nvSpPr>
        <p:spPr>
          <a:xfrm>
            <a:off x="1219139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bk object 20"/>
          <p:cNvSpPr/>
          <p:nvPr/>
        </p:nvSpPr>
        <p:spPr>
          <a:xfrm>
            <a:off x="1357566" y="1355944"/>
            <a:ext cx="6604000" cy="457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bk object 21"/>
          <p:cNvSpPr/>
          <p:nvPr/>
        </p:nvSpPr>
        <p:spPr>
          <a:xfrm>
            <a:off x="1342088" y="1336891"/>
            <a:ext cx="6634956" cy="4610100"/>
          </a:xfrm>
          <a:custGeom>
            <a:avLst/>
            <a:gdLst/>
            <a:ahLst/>
            <a:cxnLst/>
            <a:rect l="l" t="t" r="r" b="b"/>
            <a:pathLst>
              <a:path w="8166100" h="4610100">
                <a:moveTo>
                  <a:pt x="0" y="0"/>
                </a:moveTo>
                <a:lnTo>
                  <a:pt x="8166104" y="0"/>
                </a:lnTo>
                <a:lnTo>
                  <a:pt x="8166104" y="4610102"/>
                </a:lnTo>
                <a:lnTo>
                  <a:pt x="0" y="4610102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81903" y="169710"/>
            <a:ext cx="954219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4/20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64989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750" y="765175"/>
            <a:ext cx="9087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12750" y="304800"/>
            <a:ext cx="9087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13494" y="1828800"/>
            <a:ext cx="9087000" cy="13388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37556" y="6400800"/>
            <a:ext cx="88271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021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  <p15:guide id="4" pos="5520">
          <p15:clr>
            <a:srgbClr val="FBAE40"/>
          </p15:clr>
        </p15:guide>
        <p15:guide id="5" pos="240">
          <p15:clr>
            <a:srgbClr val="FBAE40"/>
          </p15:clr>
        </p15:guide>
        <p15:guide id="6" orient="horz" pos="192">
          <p15:clr>
            <a:srgbClr val="FBAE40"/>
          </p15:clr>
        </p15:guide>
        <p15:guide id="7" orient="horz" pos="1152">
          <p15:clr>
            <a:srgbClr val="FBAE40"/>
          </p15:clr>
        </p15:guide>
        <p15:guide id="8" orient="horz" pos="480">
          <p15:clr>
            <a:srgbClr val="FBAE40"/>
          </p15:clr>
        </p15:guide>
        <p15:guide id="9" orient="horz" pos="403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98650" y="516467"/>
            <a:ext cx="61087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167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724150" y="985788"/>
            <a:ext cx="44577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92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2" name="Round Same Side Corner Rectangle 21"/>
          <p:cNvSpPr/>
          <p:nvPr userDrawn="1"/>
        </p:nvSpPr>
        <p:spPr>
          <a:xfrm rot="16200000" flipH="1">
            <a:off x="9495551" y="6382314"/>
            <a:ext cx="384047" cy="4368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475734" y="6408717"/>
            <a:ext cx="412751" cy="366183"/>
          </a:xfrm>
          <a:prstGeom prst="rect">
            <a:avLst/>
          </a:prstGeom>
        </p:spPr>
        <p:txBody>
          <a:bodyPr anchor="ctr"/>
          <a:lstStyle>
            <a:lvl1pPr algn="ctr">
              <a:defRPr sz="97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581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883469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0818F-7F2B-47AB-98FB-73BD6A51B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A7735B-0F17-44F2-9E51-CC1CA6DB66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DF3CEA-08AA-4A63-9877-A262BD7E1C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4D4524-E1D1-4B6B-89E9-EB9628A3C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8E708-8F7F-44B1-A461-0A39BC764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297CB9-F64C-418D-99C4-D6ABA98B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903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448B3-58E1-4572-AC69-4B0F9FED6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8F448C-EB50-4BB0-A7F6-94AFCBB574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5B69E8-31DE-4FB0-8055-518ACAD10D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362B8F-42E8-43E8-A595-309AA0CB6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E6DBDE-B6F5-43DC-8381-3C46CB78C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7B1C8E-2B8F-4DEC-B56D-9B8AF0D79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535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41" Type="http://schemas.openxmlformats.org/officeDocument/2006/relationships/slideLayout" Target="../slideLayouts/slideLayout6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66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74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4A24840-8F03-4E79-8AC9-172D34B77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54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4A24840-8F03-4E79-8AC9-172D34B77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DE0332-C6FE-4F1C-8164-920BA002D93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01FF5E-816E-45A5-B590-63B3DD126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58B25-7228-4C92-8162-D0DE3A8651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410E5F-7563-4021-8D99-2DD671DBBA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11E159-70DA-40BA-A166-8383964D9DAB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4DED9-E3FE-4A8D-8F74-E0BE5657A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239D9B-FF56-4D4C-A2E2-82E36173A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202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16496378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26CB40-4C3F-421B-8183-C4443D742B6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000" b="1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83" y="1426674"/>
            <a:ext cx="936117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2051" y="6594952"/>
            <a:ext cx="287274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22663" y="204992"/>
            <a:ext cx="9634654" cy="0"/>
          </a:xfrm>
          <a:prstGeom prst="line">
            <a:avLst/>
          </a:prstGeom>
          <a:noFill/>
          <a:ln w="22225" cap="flat" cmpd="sng" algn="ctr">
            <a:solidFill>
              <a:srgbClr val="35477A"/>
            </a:solidFill>
            <a:prstDash val="solid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64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9" r:id="rId9"/>
    <p:sldLayoutId id="2147483690" r:id="rId10"/>
    <p:sldLayoutId id="2147483691" r:id="rId11"/>
    <p:sldLayoutId id="2147483767" r:id="rId12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64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  <p:sldLayoutId id="2147483744" r:id="rId21"/>
    <p:sldLayoutId id="2147483745" r:id="rId22"/>
    <p:sldLayoutId id="2147483746" r:id="rId23"/>
    <p:sldLayoutId id="2147483747" r:id="rId24"/>
    <p:sldLayoutId id="2147483748" r:id="rId25"/>
    <p:sldLayoutId id="2147483749" r:id="rId26"/>
    <p:sldLayoutId id="2147483750" r:id="rId27"/>
    <p:sldLayoutId id="2147483751" r:id="rId28"/>
    <p:sldLayoutId id="2147483752" r:id="rId29"/>
    <p:sldLayoutId id="2147483753" r:id="rId30"/>
    <p:sldLayoutId id="2147483754" r:id="rId31"/>
    <p:sldLayoutId id="2147483755" r:id="rId32"/>
    <p:sldLayoutId id="2147483756" r:id="rId33"/>
    <p:sldLayoutId id="2147483757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</p:sldLayoutIdLst>
  <p:hf hdr="0" ftr="0" dt="0"/>
  <p:txStyles>
    <p:titleStyle>
      <a:lvl1pPr algn="ctr" defTabSz="990570" rtl="0" eaLnBrk="1" latinLnBrk="0" hangingPunct="1">
        <a:spcBef>
          <a:spcPct val="0"/>
        </a:spcBef>
        <a:buNone/>
        <a:defRPr sz="47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1464" indent="-371464" algn="l" defTabSz="990570" rtl="0" eaLnBrk="1" latinLnBrk="0" hangingPunct="1">
        <a:spcBef>
          <a:spcPct val="20000"/>
        </a:spcBef>
        <a:buFont typeface="Arial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04838" indent="-309553" algn="l" defTabSz="990570" rtl="0" eaLnBrk="1" latinLnBrk="0" hangingPunct="1">
        <a:spcBef>
          <a:spcPct val="20000"/>
        </a:spcBef>
        <a:buFont typeface="Arial" pitchFamily="34" charset="0"/>
        <a:buChar char="–"/>
        <a:defRPr sz="3033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defTabSz="990570" rtl="0" eaLnBrk="1" latinLnBrk="0" hangingPunct="1">
        <a:spcBef>
          <a:spcPct val="20000"/>
        </a:spcBef>
        <a:buFont typeface="Arial" pitchFamily="34" charset="0"/>
        <a:buChar char="–"/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defTabSz="990570" rtl="0" eaLnBrk="1" latinLnBrk="0" hangingPunct="1">
        <a:spcBef>
          <a:spcPct val="20000"/>
        </a:spcBef>
        <a:buFont typeface="Arial" pitchFamily="34" charset="0"/>
        <a:buChar char="»"/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26CB40-4C3F-421B-8183-C4443D742B6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000" b="1" i="0" baseline="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83" y="1426674"/>
            <a:ext cx="936117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2051" y="6594952"/>
            <a:ext cx="287274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22663" y="204992"/>
            <a:ext cx="9634654" cy="0"/>
          </a:xfrm>
          <a:prstGeom prst="line">
            <a:avLst/>
          </a:prstGeom>
          <a:noFill/>
          <a:ln w="22225" cap="flat" cmpd="sng" algn="ctr">
            <a:solidFill>
              <a:srgbClr val="35477A"/>
            </a:solidFill>
            <a:prstDash val="solid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112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9.emf"/><Relationship Id="rId12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xpandedramblings.com/index.php/craigslist-statistics/" TargetMode="External"/><Relationship Id="rId2" Type="http://schemas.openxmlformats.org/officeDocument/2006/relationships/hyperlink" Target="https://www.linkedin.com/company/craigslist/about/" TargetMode="Externa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CF8CC3C8-FBF5-4774-A415-36590D53F6E4}"/>
              </a:ext>
            </a:extLst>
          </p:cNvPr>
          <p:cNvSpPr txBox="1">
            <a:spLocks/>
          </p:cNvSpPr>
          <p:nvPr/>
        </p:nvSpPr>
        <p:spPr bwMode="gray">
          <a:xfrm>
            <a:off x="217170" y="3599489"/>
            <a:ext cx="9471660" cy="4238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36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rectly Classifying Ads on Craigslist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8023C4-E19F-41C0-9AA3-C7D474CC08E0}"/>
              </a:ext>
            </a:extLst>
          </p:cNvPr>
          <p:cNvGrpSpPr/>
          <p:nvPr/>
        </p:nvGrpSpPr>
        <p:grpSpPr>
          <a:xfrm>
            <a:off x="3381711" y="1699134"/>
            <a:ext cx="3358881" cy="1847850"/>
            <a:chOff x="3305907" y="1751639"/>
            <a:chExt cx="3358881" cy="1847850"/>
          </a:xfrm>
        </p:grpSpPr>
        <p:pic>
          <p:nvPicPr>
            <p:cNvPr id="3" name="Picture 47" descr="Image result for craigslist logo">
              <a:extLst>
                <a:ext uri="{FF2B5EF4-FFF2-40B4-BE49-F238E27FC236}">
                  <a16:creationId xmlns:a16="http://schemas.microsoft.com/office/drawing/2014/main" id="{3821659F-13F9-429A-B0F0-F31033DEE6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7813" y="1751639"/>
              <a:ext cx="2466975" cy="184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5" descr="Image result for craigslist logo">
              <a:extLst>
                <a:ext uri="{FF2B5EF4-FFF2-40B4-BE49-F238E27FC236}">
                  <a16:creationId xmlns:a16="http://schemas.microsoft.com/office/drawing/2014/main" id="{AABA1434-C59D-49F1-B85B-3522DF627D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70" r="28632"/>
            <a:stretch/>
          </p:blipFill>
          <p:spPr bwMode="auto">
            <a:xfrm>
              <a:off x="3305907" y="1946902"/>
              <a:ext cx="1322364" cy="1457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98526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Cube 78">
            <a:extLst>
              <a:ext uri="{FF2B5EF4-FFF2-40B4-BE49-F238E27FC236}">
                <a16:creationId xmlns:a16="http://schemas.microsoft.com/office/drawing/2014/main" id="{889ED027-F26F-40D0-A453-39B60909C71F}"/>
              </a:ext>
            </a:extLst>
          </p:cNvPr>
          <p:cNvSpPr/>
          <p:nvPr/>
        </p:nvSpPr>
        <p:spPr>
          <a:xfrm flipH="1">
            <a:off x="6948890" y="2586226"/>
            <a:ext cx="1768478" cy="2859424"/>
          </a:xfrm>
          <a:prstGeom prst="cube">
            <a:avLst>
              <a:gd name="adj" fmla="val 20548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Cube 79">
            <a:extLst>
              <a:ext uri="{FF2B5EF4-FFF2-40B4-BE49-F238E27FC236}">
                <a16:creationId xmlns:a16="http://schemas.microsoft.com/office/drawing/2014/main" id="{0EE44ADB-B016-4D37-BB8C-78BCCBD98CD4}"/>
              </a:ext>
            </a:extLst>
          </p:cNvPr>
          <p:cNvSpPr/>
          <p:nvPr/>
        </p:nvSpPr>
        <p:spPr>
          <a:xfrm flipH="1">
            <a:off x="5500121" y="3023059"/>
            <a:ext cx="1768478" cy="2422591"/>
          </a:xfrm>
          <a:prstGeom prst="cube">
            <a:avLst>
              <a:gd name="adj" fmla="val 20319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Cube 80">
            <a:extLst>
              <a:ext uri="{FF2B5EF4-FFF2-40B4-BE49-F238E27FC236}">
                <a16:creationId xmlns:a16="http://schemas.microsoft.com/office/drawing/2014/main" id="{EA990FBD-5B0B-45BA-9027-1AC7CBFC7038}"/>
              </a:ext>
            </a:extLst>
          </p:cNvPr>
          <p:cNvSpPr/>
          <p:nvPr/>
        </p:nvSpPr>
        <p:spPr>
          <a:xfrm flipH="1">
            <a:off x="4047692" y="3415326"/>
            <a:ext cx="1768478" cy="2030325"/>
          </a:xfrm>
          <a:prstGeom prst="cube">
            <a:avLst>
              <a:gd name="adj" fmla="val 2062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Cube 81">
            <a:extLst>
              <a:ext uri="{FF2B5EF4-FFF2-40B4-BE49-F238E27FC236}">
                <a16:creationId xmlns:a16="http://schemas.microsoft.com/office/drawing/2014/main" id="{244F20B8-9B96-4115-B612-FEC7FD24D209}"/>
              </a:ext>
            </a:extLst>
          </p:cNvPr>
          <p:cNvSpPr/>
          <p:nvPr/>
        </p:nvSpPr>
        <p:spPr>
          <a:xfrm flipH="1">
            <a:off x="2598356" y="3838260"/>
            <a:ext cx="1768478" cy="1607391"/>
          </a:xfrm>
          <a:prstGeom prst="cube">
            <a:avLst>
              <a:gd name="adj" fmla="val 2155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Cube 82">
            <a:extLst>
              <a:ext uri="{FF2B5EF4-FFF2-40B4-BE49-F238E27FC236}">
                <a16:creationId xmlns:a16="http://schemas.microsoft.com/office/drawing/2014/main" id="{86D43E26-7320-48BC-AA67-1EAEB81EB369}"/>
              </a:ext>
            </a:extLst>
          </p:cNvPr>
          <p:cNvSpPr/>
          <p:nvPr/>
        </p:nvSpPr>
        <p:spPr>
          <a:xfrm flipH="1">
            <a:off x="1164998" y="4281680"/>
            <a:ext cx="1768478" cy="1163971"/>
          </a:xfrm>
          <a:prstGeom prst="cube">
            <a:avLst>
              <a:gd name="adj" fmla="val 25554"/>
            </a:avLst>
          </a:prstGeom>
          <a:solidFill>
            <a:schemeClr val="bg1">
              <a:lumMod val="75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Cube 83">
            <a:extLst>
              <a:ext uri="{FF2B5EF4-FFF2-40B4-BE49-F238E27FC236}">
                <a16:creationId xmlns:a16="http://schemas.microsoft.com/office/drawing/2014/main" id="{4FE44D9A-189F-4AC7-8767-B2409C42A584}"/>
              </a:ext>
            </a:extLst>
          </p:cNvPr>
          <p:cNvSpPr/>
          <p:nvPr/>
        </p:nvSpPr>
        <p:spPr>
          <a:xfrm flipH="1">
            <a:off x="1164998" y="3913804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Cube 84">
            <a:extLst>
              <a:ext uri="{FF2B5EF4-FFF2-40B4-BE49-F238E27FC236}">
                <a16:creationId xmlns:a16="http://schemas.microsoft.com/office/drawing/2014/main" id="{3119B009-E3AD-4F53-8803-070E49A447CE}"/>
              </a:ext>
            </a:extLst>
          </p:cNvPr>
          <p:cNvSpPr/>
          <p:nvPr/>
        </p:nvSpPr>
        <p:spPr>
          <a:xfrm flipH="1">
            <a:off x="2598356" y="3490869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Cube 85">
            <a:extLst>
              <a:ext uri="{FF2B5EF4-FFF2-40B4-BE49-F238E27FC236}">
                <a16:creationId xmlns:a16="http://schemas.microsoft.com/office/drawing/2014/main" id="{B02E8C1E-940D-4AF6-AE45-7D57206FBB9C}"/>
              </a:ext>
            </a:extLst>
          </p:cNvPr>
          <p:cNvSpPr/>
          <p:nvPr/>
        </p:nvSpPr>
        <p:spPr>
          <a:xfrm flipH="1">
            <a:off x="4047693" y="3071519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Cube 86">
            <a:extLst>
              <a:ext uri="{FF2B5EF4-FFF2-40B4-BE49-F238E27FC236}">
                <a16:creationId xmlns:a16="http://schemas.microsoft.com/office/drawing/2014/main" id="{4F6117E5-ED57-4939-A2A1-E43F552E4C0B}"/>
              </a:ext>
            </a:extLst>
          </p:cNvPr>
          <p:cNvSpPr/>
          <p:nvPr/>
        </p:nvSpPr>
        <p:spPr>
          <a:xfrm flipH="1">
            <a:off x="5497031" y="2648585"/>
            <a:ext cx="1768478" cy="705936"/>
          </a:xfrm>
          <a:prstGeom prst="cube">
            <a:avLst>
              <a:gd name="adj" fmla="val 48767"/>
            </a:avLst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Cube 87">
            <a:extLst>
              <a:ext uri="{FF2B5EF4-FFF2-40B4-BE49-F238E27FC236}">
                <a16:creationId xmlns:a16="http://schemas.microsoft.com/office/drawing/2014/main" id="{7CDE7DD4-C4A3-4740-BA09-0F4D4527BD16}"/>
              </a:ext>
            </a:extLst>
          </p:cNvPr>
          <p:cNvSpPr/>
          <p:nvPr/>
        </p:nvSpPr>
        <p:spPr>
          <a:xfrm flipH="1">
            <a:off x="6946369" y="2225650"/>
            <a:ext cx="1768478" cy="705936"/>
          </a:xfrm>
          <a:prstGeom prst="cube">
            <a:avLst>
              <a:gd name="adj" fmla="val 48767"/>
            </a:avLst>
          </a:prstGeom>
          <a:solidFill>
            <a:srgbClr val="0045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26A09BA-0EC9-4402-9086-CE385E992621}"/>
              </a:ext>
            </a:extLst>
          </p:cNvPr>
          <p:cNvGrpSpPr/>
          <p:nvPr/>
        </p:nvGrpSpPr>
        <p:grpSpPr>
          <a:xfrm>
            <a:off x="6943848" y="947748"/>
            <a:ext cx="1576465" cy="1567302"/>
            <a:chOff x="5138738" y="-608163"/>
            <a:chExt cx="4786312" cy="5039851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52BBA748-BE54-4390-A912-B867D56AEC0D}"/>
                </a:ext>
              </a:extLst>
            </p:cNvPr>
            <p:cNvSpPr/>
            <p:nvPr/>
          </p:nvSpPr>
          <p:spPr>
            <a:xfrm>
              <a:off x="5793224" y="3973382"/>
              <a:ext cx="3766861" cy="380050"/>
            </a:xfrm>
            <a:prstGeom prst="ellipse">
              <a:avLst/>
            </a:prstGeom>
            <a:solidFill>
              <a:srgbClr val="000000">
                <a:alpha val="3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4BA9E886-0931-43BE-A44A-B5C618A7F0DD}"/>
                </a:ext>
              </a:extLst>
            </p:cNvPr>
            <p:cNvGrpSpPr/>
            <p:nvPr/>
          </p:nvGrpSpPr>
          <p:grpSpPr>
            <a:xfrm>
              <a:off x="5138738" y="-608163"/>
              <a:ext cx="4786312" cy="5039851"/>
              <a:chOff x="5995988" y="2712903"/>
              <a:chExt cx="2457450" cy="2587625"/>
            </a:xfrm>
          </p:grpSpPr>
          <p:sp>
            <p:nvSpPr>
              <p:cNvPr id="108" name="Freeform 6">
                <a:extLst>
                  <a:ext uri="{FF2B5EF4-FFF2-40B4-BE49-F238E27FC236}">
                    <a16:creationId xmlns:a16="http://schemas.microsoft.com/office/drawing/2014/main" id="{0FE312EA-A7CC-40BC-B279-483EB91B0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5988" y="2712903"/>
                <a:ext cx="2457450" cy="2587625"/>
              </a:xfrm>
              <a:custGeom>
                <a:avLst/>
                <a:gdLst>
                  <a:gd name="T0" fmla="*/ 707 w 771"/>
                  <a:gd name="T1" fmla="*/ 219 h 812"/>
                  <a:gd name="T2" fmla="*/ 760 w 771"/>
                  <a:gd name="T3" fmla="*/ 369 h 812"/>
                  <a:gd name="T4" fmla="*/ 685 w 771"/>
                  <a:gd name="T5" fmla="*/ 634 h 812"/>
                  <a:gd name="T6" fmla="*/ 197 w 771"/>
                  <a:gd name="T7" fmla="*/ 707 h 812"/>
                  <a:gd name="T8" fmla="*/ 97 w 771"/>
                  <a:gd name="T9" fmla="*/ 220 h 812"/>
                  <a:gd name="T10" fmla="*/ 594 w 771"/>
                  <a:gd name="T11" fmla="*/ 106 h 812"/>
                  <a:gd name="T12" fmla="*/ 552 w 771"/>
                  <a:gd name="T13" fmla="*/ 147 h 812"/>
                  <a:gd name="T14" fmla="*/ 509 w 771"/>
                  <a:gd name="T15" fmla="*/ 128 h 812"/>
                  <a:gd name="T16" fmla="*/ 454 w 771"/>
                  <a:gd name="T17" fmla="*/ 113 h 812"/>
                  <a:gd name="T18" fmla="*/ 372 w 771"/>
                  <a:gd name="T19" fmla="*/ 110 h 812"/>
                  <a:gd name="T20" fmla="*/ 241 w 771"/>
                  <a:gd name="T21" fmla="*/ 155 h 812"/>
                  <a:gd name="T22" fmla="*/ 147 w 771"/>
                  <a:gd name="T23" fmla="*/ 249 h 812"/>
                  <a:gd name="T24" fmla="*/ 115 w 771"/>
                  <a:gd name="T25" fmla="*/ 317 h 812"/>
                  <a:gd name="T26" fmla="*/ 103 w 771"/>
                  <a:gd name="T27" fmla="*/ 366 h 812"/>
                  <a:gd name="T28" fmla="*/ 102 w 771"/>
                  <a:gd name="T29" fmla="*/ 450 h 812"/>
                  <a:gd name="T30" fmla="*/ 124 w 771"/>
                  <a:gd name="T31" fmla="*/ 528 h 812"/>
                  <a:gd name="T32" fmla="*/ 209 w 771"/>
                  <a:gd name="T33" fmla="*/ 643 h 812"/>
                  <a:gd name="T34" fmla="*/ 295 w 771"/>
                  <a:gd name="T35" fmla="*/ 694 h 812"/>
                  <a:gd name="T36" fmla="*/ 357 w 771"/>
                  <a:gd name="T37" fmla="*/ 710 h 812"/>
                  <a:gd name="T38" fmla="*/ 439 w 771"/>
                  <a:gd name="T39" fmla="*/ 711 h 812"/>
                  <a:gd name="T40" fmla="*/ 512 w 771"/>
                  <a:gd name="T41" fmla="*/ 693 h 812"/>
                  <a:gd name="T42" fmla="*/ 585 w 771"/>
                  <a:gd name="T43" fmla="*/ 652 h 812"/>
                  <a:gd name="T44" fmla="*/ 644 w 771"/>
                  <a:gd name="T45" fmla="*/ 592 h 812"/>
                  <a:gd name="T46" fmla="*/ 677 w 771"/>
                  <a:gd name="T47" fmla="*/ 536 h 812"/>
                  <a:gd name="T48" fmla="*/ 696 w 771"/>
                  <a:gd name="T49" fmla="*/ 482 h 812"/>
                  <a:gd name="T50" fmla="*/ 704 w 771"/>
                  <a:gd name="T51" fmla="*/ 432 h 812"/>
                  <a:gd name="T52" fmla="*/ 702 w 771"/>
                  <a:gd name="T53" fmla="*/ 374 h 812"/>
                  <a:gd name="T54" fmla="*/ 695 w 771"/>
                  <a:gd name="T55" fmla="*/ 334 h 812"/>
                  <a:gd name="T56" fmla="*/ 666 w 771"/>
                  <a:gd name="T57" fmla="*/ 264 h 812"/>
                  <a:gd name="T58" fmla="*/ 667 w 771"/>
                  <a:gd name="T59" fmla="*/ 258 h 812"/>
                  <a:gd name="T60" fmla="*/ 703 w 771"/>
                  <a:gd name="T61" fmla="*/ 222 h 812"/>
                  <a:gd name="T62" fmla="*/ 707 w 771"/>
                  <a:gd name="T63" fmla="*/ 219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71" h="812">
                    <a:moveTo>
                      <a:pt x="707" y="219"/>
                    </a:moveTo>
                    <a:cubicBezTo>
                      <a:pt x="736" y="265"/>
                      <a:pt x="754" y="315"/>
                      <a:pt x="760" y="369"/>
                    </a:cubicBezTo>
                    <a:cubicBezTo>
                      <a:pt x="771" y="467"/>
                      <a:pt x="746" y="557"/>
                      <a:pt x="685" y="634"/>
                    </a:cubicBezTo>
                    <a:cubicBezTo>
                      <a:pt x="561" y="789"/>
                      <a:pt x="347" y="812"/>
                      <a:pt x="197" y="707"/>
                    </a:cubicBezTo>
                    <a:cubicBezTo>
                      <a:pt x="31" y="591"/>
                      <a:pt x="0" y="374"/>
                      <a:pt x="97" y="220"/>
                    </a:cubicBezTo>
                    <a:cubicBezTo>
                      <a:pt x="203" y="52"/>
                      <a:pt x="424" y="0"/>
                      <a:pt x="594" y="106"/>
                    </a:cubicBezTo>
                    <a:cubicBezTo>
                      <a:pt x="580" y="120"/>
                      <a:pt x="566" y="134"/>
                      <a:pt x="552" y="147"/>
                    </a:cubicBezTo>
                    <a:cubicBezTo>
                      <a:pt x="538" y="141"/>
                      <a:pt x="523" y="134"/>
                      <a:pt x="509" y="128"/>
                    </a:cubicBezTo>
                    <a:cubicBezTo>
                      <a:pt x="491" y="121"/>
                      <a:pt x="473" y="116"/>
                      <a:pt x="454" y="113"/>
                    </a:cubicBezTo>
                    <a:cubicBezTo>
                      <a:pt x="427" y="108"/>
                      <a:pt x="399" y="107"/>
                      <a:pt x="372" y="110"/>
                    </a:cubicBezTo>
                    <a:cubicBezTo>
                      <a:pt x="325" y="115"/>
                      <a:pt x="281" y="130"/>
                      <a:pt x="241" y="155"/>
                    </a:cubicBezTo>
                    <a:cubicBezTo>
                      <a:pt x="203" y="179"/>
                      <a:pt x="171" y="211"/>
                      <a:pt x="147" y="249"/>
                    </a:cubicBezTo>
                    <a:cubicBezTo>
                      <a:pt x="134" y="270"/>
                      <a:pt x="123" y="293"/>
                      <a:pt x="115" y="317"/>
                    </a:cubicBezTo>
                    <a:cubicBezTo>
                      <a:pt x="110" y="333"/>
                      <a:pt x="106" y="350"/>
                      <a:pt x="103" y="366"/>
                    </a:cubicBezTo>
                    <a:cubicBezTo>
                      <a:pt x="99" y="394"/>
                      <a:pt x="99" y="422"/>
                      <a:pt x="102" y="450"/>
                    </a:cubicBezTo>
                    <a:cubicBezTo>
                      <a:pt x="105" y="477"/>
                      <a:pt x="113" y="503"/>
                      <a:pt x="124" y="528"/>
                    </a:cubicBezTo>
                    <a:cubicBezTo>
                      <a:pt x="143" y="574"/>
                      <a:pt x="171" y="612"/>
                      <a:pt x="209" y="643"/>
                    </a:cubicBezTo>
                    <a:cubicBezTo>
                      <a:pt x="235" y="665"/>
                      <a:pt x="263" y="682"/>
                      <a:pt x="295" y="694"/>
                    </a:cubicBezTo>
                    <a:cubicBezTo>
                      <a:pt x="315" y="701"/>
                      <a:pt x="336" y="707"/>
                      <a:pt x="357" y="710"/>
                    </a:cubicBezTo>
                    <a:cubicBezTo>
                      <a:pt x="384" y="714"/>
                      <a:pt x="412" y="715"/>
                      <a:pt x="439" y="711"/>
                    </a:cubicBezTo>
                    <a:cubicBezTo>
                      <a:pt x="464" y="708"/>
                      <a:pt x="488" y="702"/>
                      <a:pt x="512" y="693"/>
                    </a:cubicBezTo>
                    <a:cubicBezTo>
                      <a:pt x="538" y="683"/>
                      <a:pt x="563" y="669"/>
                      <a:pt x="585" y="652"/>
                    </a:cubicBezTo>
                    <a:cubicBezTo>
                      <a:pt x="607" y="635"/>
                      <a:pt x="627" y="615"/>
                      <a:pt x="644" y="592"/>
                    </a:cubicBezTo>
                    <a:cubicBezTo>
                      <a:pt x="657" y="575"/>
                      <a:pt x="668" y="556"/>
                      <a:pt x="677" y="536"/>
                    </a:cubicBezTo>
                    <a:cubicBezTo>
                      <a:pt x="686" y="519"/>
                      <a:pt x="692" y="501"/>
                      <a:pt x="696" y="482"/>
                    </a:cubicBezTo>
                    <a:cubicBezTo>
                      <a:pt x="700" y="465"/>
                      <a:pt x="703" y="449"/>
                      <a:pt x="704" y="432"/>
                    </a:cubicBezTo>
                    <a:cubicBezTo>
                      <a:pt x="704" y="413"/>
                      <a:pt x="704" y="393"/>
                      <a:pt x="702" y="374"/>
                    </a:cubicBezTo>
                    <a:cubicBezTo>
                      <a:pt x="701" y="361"/>
                      <a:pt x="698" y="347"/>
                      <a:pt x="695" y="334"/>
                    </a:cubicBezTo>
                    <a:cubicBezTo>
                      <a:pt x="689" y="310"/>
                      <a:pt x="679" y="286"/>
                      <a:pt x="666" y="264"/>
                    </a:cubicBezTo>
                    <a:cubicBezTo>
                      <a:pt x="665" y="262"/>
                      <a:pt x="665" y="260"/>
                      <a:pt x="667" y="258"/>
                    </a:cubicBezTo>
                    <a:cubicBezTo>
                      <a:pt x="680" y="246"/>
                      <a:pt x="691" y="234"/>
                      <a:pt x="703" y="222"/>
                    </a:cubicBezTo>
                    <a:cubicBezTo>
                      <a:pt x="704" y="221"/>
                      <a:pt x="705" y="220"/>
                      <a:pt x="707" y="219"/>
                    </a:cubicBezTo>
                    <a:close/>
                  </a:path>
                </a:pathLst>
              </a:custGeom>
              <a:solidFill>
                <a:srgbClr val="282F3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82F39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9" name="Freeform 7">
                <a:extLst>
                  <a:ext uri="{FF2B5EF4-FFF2-40B4-BE49-F238E27FC236}">
                    <a16:creationId xmlns:a16="http://schemas.microsoft.com/office/drawing/2014/main" id="{26C7F4D9-D12A-42AB-8FDB-25CB96048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270116"/>
                <a:ext cx="1450975" cy="1435100"/>
              </a:xfrm>
              <a:custGeom>
                <a:avLst/>
                <a:gdLst>
                  <a:gd name="T0" fmla="*/ 350 w 455"/>
                  <a:gd name="T1" fmla="*/ 54 h 450"/>
                  <a:gd name="T2" fmla="*/ 311 w 455"/>
                  <a:gd name="T3" fmla="*/ 93 h 450"/>
                  <a:gd name="T4" fmla="*/ 305 w 455"/>
                  <a:gd name="T5" fmla="*/ 94 h 450"/>
                  <a:gd name="T6" fmla="*/ 262 w 455"/>
                  <a:gd name="T7" fmla="*/ 81 h 450"/>
                  <a:gd name="T8" fmla="*/ 210 w 455"/>
                  <a:gd name="T9" fmla="*/ 82 h 450"/>
                  <a:gd name="T10" fmla="*/ 148 w 455"/>
                  <a:gd name="T11" fmla="*/ 109 h 450"/>
                  <a:gd name="T12" fmla="*/ 103 w 455"/>
                  <a:gd name="T13" fmla="*/ 160 h 450"/>
                  <a:gd name="T14" fmla="*/ 84 w 455"/>
                  <a:gd name="T15" fmla="*/ 216 h 450"/>
                  <a:gd name="T16" fmla="*/ 90 w 455"/>
                  <a:gd name="T17" fmla="*/ 283 h 450"/>
                  <a:gd name="T18" fmla="*/ 154 w 455"/>
                  <a:gd name="T19" fmla="*/ 367 h 450"/>
                  <a:gd name="T20" fmla="*/ 225 w 455"/>
                  <a:gd name="T21" fmla="*/ 392 h 450"/>
                  <a:gd name="T22" fmla="*/ 302 w 455"/>
                  <a:gd name="T23" fmla="*/ 379 h 450"/>
                  <a:gd name="T24" fmla="*/ 364 w 455"/>
                  <a:gd name="T25" fmla="*/ 330 h 450"/>
                  <a:gd name="T26" fmla="*/ 391 w 455"/>
                  <a:gd name="T27" fmla="*/ 273 h 450"/>
                  <a:gd name="T28" fmla="*/ 395 w 455"/>
                  <a:gd name="T29" fmla="*/ 223 h 450"/>
                  <a:gd name="T30" fmla="*/ 380 w 455"/>
                  <a:gd name="T31" fmla="*/ 167 h 450"/>
                  <a:gd name="T32" fmla="*/ 422 w 455"/>
                  <a:gd name="T33" fmla="*/ 125 h 450"/>
                  <a:gd name="T34" fmla="*/ 453 w 455"/>
                  <a:gd name="T35" fmla="*/ 242 h 450"/>
                  <a:gd name="T36" fmla="*/ 418 w 455"/>
                  <a:gd name="T37" fmla="*/ 354 h 450"/>
                  <a:gd name="T38" fmla="*/ 235 w 455"/>
                  <a:gd name="T39" fmla="*/ 450 h 450"/>
                  <a:gd name="T40" fmla="*/ 85 w 455"/>
                  <a:gd name="T41" fmla="*/ 385 h 450"/>
                  <a:gd name="T42" fmla="*/ 95 w 455"/>
                  <a:gd name="T43" fmla="*/ 78 h 450"/>
                  <a:gd name="T44" fmla="*/ 350 w 455"/>
                  <a:gd name="T45" fmla="*/ 54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5" h="450">
                    <a:moveTo>
                      <a:pt x="350" y="54"/>
                    </a:moveTo>
                    <a:cubicBezTo>
                      <a:pt x="337" y="67"/>
                      <a:pt x="324" y="80"/>
                      <a:pt x="311" y="93"/>
                    </a:cubicBezTo>
                    <a:cubicBezTo>
                      <a:pt x="310" y="94"/>
                      <a:pt x="307" y="95"/>
                      <a:pt x="305" y="94"/>
                    </a:cubicBezTo>
                    <a:cubicBezTo>
                      <a:pt x="292" y="87"/>
                      <a:pt x="277" y="83"/>
                      <a:pt x="262" y="81"/>
                    </a:cubicBezTo>
                    <a:cubicBezTo>
                      <a:pt x="244" y="79"/>
                      <a:pt x="227" y="79"/>
                      <a:pt x="210" y="82"/>
                    </a:cubicBezTo>
                    <a:cubicBezTo>
                      <a:pt x="187" y="87"/>
                      <a:pt x="166" y="96"/>
                      <a:pt x="148" y="109"/>
                    </a:cubicBezTo>
                    <a:cubicBezTo>
                      <a:pt x="129" y="123"/>
                      <a:pt x="114" y="140"/>
                      <a:pt x="103" y="160"/>
                    </a:cubicBezTo>
                    <a:cubicBezTo>
                      <a:pt x="93" y="178"/>
                      <a:pt x="87" y="196"/>
                      <a:pt x="84" y="216"/>
                    </a:cubicBezTo>
                    <a:cubicBezTo>
                      <a:pt x="81" y="239"/>
                      <a:pt x="83" y="261"/>
                      <a:pt x="90" y="283"/>
                    </a:cubicBezTo>
                    <a:cubicBezTo>
                      <a:pt x="101" y="319"/>
                      <a:pt x="123" y="347"/>
                      <a:pt x="154" y="367"/>
                    </a:cubicBezTo>
                    <a:cubicBezTo>
                      <a:pt x="176" y="381"/>
                      <a:pt x="199" y="389"/>
                      <a:pt x="225" y="392"/>
                    </a:cubicBezTo>
                    <a:cubicBezTo>
                      <a:pt x="252" y="394"/>
                      <a:pt x="277" y="390"/>
                      <a:pt x="302" y="379"/>
                    </a:cubicBezTo>
                    <a:cubicBezTo>
                      <a:pt x="327" y="368"/>
                      <a:pt x="348" y="352"/>
                      <a:pt x="364" y="330"/>
                    </a:cubicBezTo>
                    <a:cubicBezTo>
                      <a:pt x="377" y="313"/>
                      <a:pt x="386" y="294"/>
                      <a:pt x="391" y="273"/>
                    </a:cubicBezTo>
                    <a:cubicBezTo>
                      <a:pt x="395" y="256"/>
                      <a:pt x="397" y="240"/>
                      <a:pt x="395" y="223"/>
                    </a:cubicBezTo>
                    <a:cubicBezTo>
                      <a:pt x="394" y="204"/>
                      <a:pt x="389" y="185"/>
                      <a:pt x="380" y="167"/>
                    </a:cubicBezTo>
                    <a:cubicBezTo>
                      <a:pt x="394" y="153"/>
                      <a:pt x="408" y="139"/>
                      <a:pt x="422" y="125"/>
                    </a:cubicBezTo>
                    <a:cubicBezTo>
                      <a:pt x="444" y="161"/>
                      <a:pt x="455" y="200"/>
                      <a:pt x="453" y="242"/>
                    </a:cubicBezTo>
                    <a:cubicBezTo>
                      <a:pt x="452" y="283"/>
                      <a:pt x="441" y="320"/>
                      <a:pt x="418" y="354"/>
                    </a:cubicBezTo>
                    <a:cubicBezTo>
                      <a:pt x="374" y="418"/>
                      <a:pt x="312" y="450"/>
                      <a:pt x="235" y="450"/>
                    </a:cubicBezTo>
                    <a:cubicBezTo>
                      <a:pt x="176" y="450"/>
                      <a:pt x="125" y="427"/>
                      <a:pt x="85" y="385"/>
                    </a:cubicBezTo>
                    <a:cubicBezTo>
                      <a:pt x="0" y="295"/>
                      <a:pt x="6" y="160"/>
                      <a:pt x="95" y="78"/>
                    </a:cubicBezTo>
                    <a:cubicBezTo>
                      <a:pt x="179" y="0"/>
                      <a:pt x="293" y="14"/>
                      <a:pt x="350" y="54"/>
                    </a:cubicBezTo>
                    <a:close/>
                  </a:path>
                </a:pathLst>
              </a:custGeom>
              <a:solidFill>
                <a:srgbClr val="282F3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82F39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0" name="Freeform 8">
                <a:extLst>
                  <a:ext uri="{FF2B5EF4-FFF2-40B4-BE49-F238E27FC236}">
                    <a16:creationId xmlns:a16="http://schemas.microsoft.com/office/drawing/2014/main" id="{97BC4BC3-781E-4667-8872-0E49CD15B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0563" y="2874828"/>
                <a:ext cx="1381125" cy="1384300"/>
              </a:xfrm>
              <a:custGeom>
                <a:avLst/>
                <a:gdLst>
                  <a:gd name="T0" fmla="*/ 363 w 433"/>
                  <a:gd name="T1" fmla="*/ 0 h 434"/>
                  <a:gd name="T2" fmla="*/ 363 w 433"/>
                  <a:gd name="T3" fmla="*/ 71 h 434"/>
                  <a:gd name="T4" fmla="*/ 432 w 433"/>
                  <a:gd name="T5" fmla="*/ 71 h 434"/>
                  <a:gd name="T6" fmla="*/ 433 w 433"/>
                  <a:gd name="T7" fmla="*/ 73 h 434"/>
                  <a:gd name="T8" fmla="*/ 408 w 433"/>
                  <a:gd name="T9" fmla="*/ 98 h 434"/>
                  <a:gd name="T10" fmla="*/ 303 w 433"/>
                  <a:gd name="T11" fmla="*/ 203 h 434"/>
                  <a:gd name="T12" fmla="*/ 292 w 433"/>
                  <a:gd name="T13" fmla="*/ 207 h 434"/>
                  <a:gd name="T14" fmla="*/ 262 w 433"/>
                  <a:gd name="T15" fmla="*/ 208 h 434"/>
                  <a:gd name="T16" fmla="*/ 255 w 433"/>
                  <a:gd name="T17" fmla="*/ 210 h 434"/>
                  <a:gd name="T18" fmla="*/ 176 w 433"/>
                  <a:gd name="T19" fmla="*/ 289 h 434"/>
                  <a:gd name="T20" fmla="*/ 141 w 433"/>
                  <a:gd name="T21" fmla="*/ 325 h 434"/>
                  <a:gd name="T22" fmla="*/ 140 w 433"/>
                  <a:gd name="T23" fmla="*/ 330 h 434"/>
                  <a:gd name="T24" fmla="*/ 146 w 433"/>
                  <a:gd name="T25" fmla="*/ 354 h 434"/>
                  <a:gd name="T26" fmla="*/ 121 w 433"/>
                  <a:gd name="T27" fmla="*/ 415 h 434"/>
                  <a:gd name="T28" fmla="*/ 67 w 433"/>
                  <a:gd name="T29" fmla="*/ 432 h 434"/>
                  <a:gd name="T30" fmla="*/ 12 w 433"/>
                  <a:gd name="T31" fmla="*/ 397 h 434"/>
                  <a:gd name="T32" fmla="*/ 4 w 433"/>
                  <a:gd name="T33" fmla="*/ 342 h 434"/>
                  <a:gd name="T34" fmla="*/ 46 w 433"/>
                  <a:gd name="T35" fmla="*/ 294 h 434"/>
                  <a:gd name="T36" fmla="*/ 105 w 433"/>
                  <a:gd name="T37" fmla="*/ 295 h 434"/>
                  <a:gd name="T38" fmla="*/ 110 w 433"/>
                  <a:gd name="T39" fmla="*/ 293 h 434"/>
                  <a:gd name="T40" fmla="*/ 191 w 433"/>
                  <a:gd name="T41" fmla="*/ 213 h 434"/>
                  <a:gd name="T42" fmla="*/ 223 w 433"/>
                  <a:gd name="T43" fmla="*/ 181 h 434"/>
                  <a:gd name="T44" fmla="*/ 227 w 433"/>
                  <a:gd name="T45" fmla="*/ 171 h 434"/>
                  <a:gd name="T46" fmla="*/ 227 w 433"/>
                  <a:gd name="T47" fmla="*/ 143 h 434"/>
                  <a:gd name="T48" fmla="*/ 231 w 433"/>
                  <a:gd name="T49" fmla="*/ 131 h 434"/>
                  <a:gd name="T50" fmla="*/ 360 w 433"/>
                  <a:gd name="T51" fmla="*/ 3 h 434"/>
                  <a:gd name="T52" fmla="*/ 363 w 433"/>
                  <a:gd name="T53" fmla="*/ 0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3" h="434">
                    <a:moveTo>
                      <a:pt x="363" y="0"/>
                    </a:moveTo>
                    <a:cubicBezTo>
                      <a:pt x="363" y="24"/>
                      <a:pt x="363" y="47"/>
                      <a:pt x="363" y="71"/>
                    </a:cubicBezTo>
                    <a:cubicBezTo>
                      <a:pt x="386" y="71"/>
                      <a:pt x="409" y="71"/>
                      <a:pt x="432" y="71"/>
                    </a:cubicBezTo>
                    <a:cubicBezTo>
                      <a:pt x="432" y="72"/>
                      <a:pt x="432" y="73"/>
                      <a:pt x="433" y="73"/>
                    </a:cubicBezTo>
                    <a:cubicBezTo>
                      <a:pt x="424" y="81"/>
                      <a:pt x="416" y="90"/>
                      <a:pt x="408" y="98"/>
                    </a:cubicBezTo>
                    <a:cubicBezTo>
                      <a:pt x="373" y="133"/>
                      <a:pt x="338" y="168"/>
                      <a:pt x="303" y="203"/>
                    </a:cubicBezTo>
                    <a:cubicBezTo>
                      <a:pt x="300" y="206"/>
                      <a:pt x="297" y="208"/>
                      <a:pt x="292" y="207"/>
                    </a:cubicBezTo>
                    <a:cubicBezTo>
                      <a:pt x="282" y="207"/>
                      <a:pt x="272" y="207"/>
                      <a:pt x="262" y="208"/>
                    </a:cubicBezTo>
                    <a:cubicBezTo>
                      <a:pt x="260" y="208"/>
                      <a:pt x="256" y="209"/>
                      <a:pt x="255" y="210"/>
                    </a:cubicBezTo>
                    <a:cubicBezTo>
                      <a:pt x="228" y="237"/>
                      <a:pt x="202" y="263"/>
                      <a:pt x="176" y="289"/>
                    </a:cubicBezTo>
                    <a:cubicBezTo>
                      <a:pt x="164" y="301"/>
                      <a:pt x="152" y="313"/>
                      <a:pt x="141" y="325"/>
                    </a:cubicBezTo>
                    <a:cubicBezTo>
                      <a:pt x="140" y="326"/>
                      <a:pt x="139" y="328"/>
                      <a:pt x="140" y="330"/>
                    </a:cubicBezTo>
                    <a:cubicBezTo>
                      <a:pt x="143" y="338"/>
                      <a:pt x="145" y="346"/>
                      <a:pt x="146" y="354"/>
                    </a:cubicBezTo>
                    <a:cubicBezTo>
                      <a:pt x="148" y="379"/>
                      <a:pt x="139" y="399"/>
                      <a:pt x="121" y="415"/>
                    </a:cubicBezTo>
                    <a:cubicBezTo>
                      <a:pt x="105" y="428"/>
                      <a:pt x="87" y="434"/>
                      <a:pt x="67" y="432"/>
                    </a:cubicBezTo>
                    <a:cubicBezTo>
                      <a:pt x="43" y="429"/>
                      <a:pt x="25" y="417"/>
                      <a:pt x="12" y="397"/>
                    </a:cubicBezTo>
                    <a:cubicBezTo>
                      <a:pt x="2" y="380"/>
                      <a:pt x="0" y="361"/>
                      <a:pt x="4" y="342"/>
                    </a:cubicBezTo>
                    <a:cubicBezTo>
                      <a:pt x="10" y="320"/>
                      <a:pt x="24" y="303"/>
                      <a:pt x="46" y="294"/>
                    </a:cubicBezTo>
                    <a:cubicBezTo>
                      <a:pt x="66" y="285"/>
                      <a:pt x="86" y="286"/>
                      <a:pt x="105" y="295"/>
                    </a:cubicBezTo>
                    <a:cubicBezTo>
                      <a:pt x="107" y="295"/>
                      <a:pt x="109" y="294"/>
                      <a:pt x="110" y="293"/>
                    </a:cubicBezTo>
                    <a:cubicBezTo>
                      <a:pt x="137" y="267"/>
                      <a:pt x="164" y="240"/>
                      <a:pt x="191" y="213"/>
                    </a:cubicBezTo>
                    <a:cubicBezTo>
                      <a:pt x="202" y="202"/>
                      <a:pt x="212" y="191"/>
                      <a:pt x="223" y="181"/>
                    </a:cubicBezTo>
                    <a:cubicBezTo>
                      <a:pt x="226" y="178"/>
                      <a:pt x="227" y="175"/>
                      <a:pt x="227" y="171"/>
                    </a:cubicBezTo>
                    <a:cubicBezTo>
                      <a:pt x="227" y="162"/>
                      <a:pt x="227" y="152"/>
                      <a:pt x="227" y="143"/>
                    </a:cubicBezTo>
                    <a:cubicBezTo>
                      <a:pt x="226" y="138"/>
                      <a:pt x="228" y="135"/>
                      <a:pt x="231" y="131"/>
                    </a:cubicBezTo>
                    <a:cubicBezTo>
                      <a:pt x="274" y="88"/>
                      <a:pt x="317" y="45"/>
                      <a:pt x="360" y="3"/>
                    </a:cubicBezTo>
                    <a:cubicBezTo>
                      <a:pt x="361" y="2"/>
                      <a:pt x="362" y="1"/>
                      <a:pt x="363" y="0"/>
                    </a:cubicBezTo>
                    <a:close/>
                  </a:path>
                </a:pathLst>
              </a:custGeom>
              <a:solidFill>
                <a:srgbClr val="CB1B4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282F39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F11D7F8F-F972-436F-B46B-E8A5A1FDF08D}"/>
              </a:ext>
            </a:extLst>
          </p:cNvPr>
          <p:cNvSpPr txBox="1"/>
          <p:nvPr/>
        </p:nvSpPr>
        <p:spPr>
          <a:xfrm>
            <a:off x="1525548" y="4813195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F5F5F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Naïve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B0AE013-575D-4E3B-9CB4-8AF4C6DD2E0A}"/>
              </a:ext>
            </a:extLst>
          </p:cNvPr>
          <p:cNvSpPr txBox="1"/>
          <p:nvPr/>
        </p:nvSpPr>
        <p:spPr>
          <a:xfrm>
            <a:off x="3042215" y="4551193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F5F5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FC</a:t>
            </a:r>
            <a:endParaRPr lang="en-GB" sz="2000" b="1" kern="0" dirty="0">
              <a:solidFill>
                <a:srgbClr val="5F5F5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19CD76B-DB50-4CBC-8232-9566B5876B74}"/>
              </a:ext>
            </a:extLst>
          </p:cNvPr>
          <p:cNvSpPr txBox="1"/>
          <p:nvPr/>
        </p:nvSpPr>
        <p:spPr>
          <a:xfrm>
            <a:off x="4475573" y="4298507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VC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FCB4A5-122F-4C93-8FAE-4138F9E295C4}"/>
              </a:ext>
            </a:extLst>
          </p:cNvPr>
          <p:cNvSpPr txBox="1"/>
          <p:nvPr/>
        </p:nvSpPr>
        <p:spPr>
          <a:xfrm>
            <a:off x="5918057" y="3859088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5F5F5F"/>
                </a:solidFill>
                <a:latin typeface="Segoe UI" panose="020B0502040204020203" pitchFamily="34" charset="0"/>
                <a:ea typeface="Noto Sans" panose="020B0502040504020204" pitchFamily="34"/>
                <a:cs typeface="Segoe UI" panose="020B0502040204020203" pitchFamily="34" charset="0"/>
              </a:rPr>
              <a:t>LSTM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C2D0E5E-4822-4095-90C6-1614FA9A2B23}"/>
              </a:ext>
            </a:extLst>
          </p:cNvPr>
          <p:cNvSpPr txBox="1"/>
          <p:nvPr/>
        </p:nvSpPr>
        <p:spPr>
          <a:xfrm>
            <a:off x="7462860" y="3452678"/>
            <a:ext cx="1012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L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4584"/>
              </a:solidFill>
              <a:effectLst/>
              <a:uLnTx/>
              <a:uFillTx/>
              <a:latin typeface="Segoe UI" panose="020B0502040204020203" pitchFamily="34" charset="0"/>
              <a:ea typeface="Noto Sans" panose="020B0502040504020204" pitchFamily="34"/>
              <a:cs typeface="Segoe UI" panose="020B0502040204020203" pitchFamily="34" charset="0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2188D91E-D36F-42E4-A822-66117B3C9E32}"/>
              </a:ext>
            </a:extLst>
          </p:cNvPr>
          <p:cNvSpPr/>
          <p:nvPr/>
        </p:nvSpPr>
        <p:spPr>
          <a:xfrm>
            <a:off x="3129142" y="3658151"/>
            <a:ext cx="605906" cy="57719"/>
          </a:xfrm>
          <a:prstGeom prst="ellipse">
            <a:avLst/>
          </a:prstGeom>
          <a:solidFill>
            <a:srgbClr val="000000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0BCFDD8-7467-4256-9E32-9837DA66A62F}"/>
              </a:ext>
            </a:extLst>
          </p:cNvPr>
          <p:cNvGrpSpPr/>
          <p:nvPr/>
        </p:nvGrpSpPr>
        <p:grpSpPr>
          <a:xfrm rot="20404528">
            <a:off x="1859449" y="1881904"/>
            <a:ext cx="1728899" cy="2001424"/>
            <a:chOff x="4742068" y="1262522"/>
            <a:chExt cx="520700" cy="1146176"/>
          </a:xfrm>
          <a:solidFill>
            <a:srgbClr val="282F39"/>
          </a:solidFill>
        </p:grpSpPr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9BDD1D59-233E-4492-8470-E4CEB7FAF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2068" y="1448260"/>
              <a:ext cx="520700" cy="960438"/>
            </a:xfrm>
            <a:custGeom>
              <a:avLst/>
              <a:gdLst>
                <a:gd name="T0" fmla="*/ 359 w 740"/>
                <a:gd name="T1" fmla="*/ 85 h 685"/>
                <a:gd name="T2" fmla="*/ 297 w 740"/>
                <a:gd name="T3" fmla="*/ 76 h 685"/>
                <a:gd name="T4" fmla="*/ 263 w 740"/>
                <a:gd name="T5" fmla="*/ 70 h 685"/>
                <a:gd name="T6" fmla="*/ 241 w 740"/>
                <a:gd name="T7" fmla="*/ 80 h 685"/>
                <a:gd name="T8" fmla="*/ 179 w 740"/>
                <a:gd name="T9" fmla="*/ 154 h 685"/>
                <a:gd name="T10" fmla="*/ 147 w 740"/>
                <a:gd name="T11" fmla="*/ 165 h 685"/>
                <a:gd name="T12" fmla="*/ 123 w 740"/>
                <a:gd name="T13" fmla="*/ 141 h 685"/>
                <a:gd name="T14" fmla="*/ 129 w 740"/>
                <a:gd name="T15" fmla="*/ 114 h 685"/>
                <a:gd name="T16" fmla="*/ 214 w 740"/>
                <a:gd name="T17" fmla="*/ 12 h 685"/>
                <a:gd name="T18" fmla="*/ 237 w 740"/>
                <a:gd name="T19" fmla="*/ 1 h 685"/>
                <a:gd name="T20" fmla="*/ 402 w 740"/>
                <a:gd name="T21" fmla="*/ 2 h 685"/>
                <a:gd name="T22" fmla="*/ 502 w 740"/>
                <a:gd name="T23" fmla="*/ 43 h 685"/>
                <a:gd name="T24" fmla="*/ 544 w 740"/>
                <a:gd name="T25" fmla="*/ 99 h 685"/>
                <a:gd name="T26" fmla="*/ 582 w 740"/>
                <a:gd name="T27" fmla="*/ 170 h 685"/>
                <a:gd name="T28" fmla="*/ 603 w 740"/>
                <a:gd name="T29" fmla="*/ 210 h 685"/>
                <a:gd name="T30" fmla="*/ 614 w 740"/>
                <a:gd name="T31" fmla="*/ 213 h 685"/>
                <a:gd name="T32" fmla="*/ 690 w 740"/>
                <a:gd name="T33" fmla="*/ 161 h 685"/>
                <a:gd name="T34" fmla="*/ 724 w 740"/>
                <a:gd name="T35" fmla="*/ 160 h 685"/>
                <a:gd name="T36" fmla="*/ 739 w 740"/>
                <a:gd name="T37" fmla="*/ 190 h 685"/>
                <a:gd name="T38" fmla="*/ 722 w 740"/>
                <a:gd name="T39" fmla="*/ 217 h 685"/>
                <a:gd name="T40" fmla="*/ 679 w 740"/>
                <a:gd name="T41" fmla="*/ 247 h 685"/>
                <a:gd name="T42" fmla="*/ 606 w 740"/>
                <a:gd name="T43" fmla="*/ 297 h 685"/>
                <a:gd name="T44" fmla="*/ 569 w 740"/>
                <a:gd name="T45" fmla="*/ 287 h 685"/>
                <a:gd name="T46" fmla="*/ 488 w 740"/>
                <a:gd name="T47" fmla="*/ 170 h 685"/>
                <a:gd name="T48" fmla="*/ 486 w 740"/>
                <a:gd name="T49" fmla="*/ 168 h 685"/>
                <a:gd name="T50" fmla="*/ 423 w 740"/>
                <a:gd name="T51" fmla="*/ 257 h 685"/>
                <a:gd name="T52" fmla="*/ 434 w 740"/>
                <a:gd name="T53" fmla="*/ 268 h 685"/>
                <a:gd name="T54" fmla="*/ 554 w 740"/>
                <a:gd name="T55" fmla="*/ 374 h 685"/>
                <a:gd name="T56" fmla="*/ 570 w 740"/>
                <a:gd name="T57" fmla="*/ 388 h 685"/>
                <a:gd name="T58" fmla="*/ 583 w 740"/>
                <a:gd name="T59" fmla="*/ 419 h 685"/>
                <a:gd name="T60" fmla="*/ 583 w 740"/>
                <a:gd name="T61" fmla="*/ 483 h 685"/>
                <a:gd name="T62" fmla="*/ 584 w 740"/>
                <a:gd name="T63" fmla="*/ 637 h 685"/>
                <a:gd name="T64" fmla="*/ 563 w 740"/>
                <a:gd name="T65" fmla="*/ 674 h 685"/>
                <a:gd name="T66" fmla="*/ 505 w 740"/>
                <a:gd name="T67" fmla="*/ 652 h 685"/>
                <a:gd name="T68" fmla="*/ 503 w 740"/>
                <a:gd name="T69" fmla="*/ 637 h 685"/>
                <a:gd name="T70" fmla="*/ 503 w 740"/>
                <a:gd name="T71" fmla="*/ 465 h 685"/>
                <a:gd name="T72" fmla="*/ 485 w 740"/>
                <a:gd name="T73" fmla="*/ 431 h 685"/>
                <a:gd name="T74" fmla="*/ 361 w 740"/>
                <a:gd name="T75" fmla="*/ 345 h 685"/>
                <a:gd name="T76" fmla="*/ 359 w 740"/>
                <a:gd name="T77" fmla="*/ 344 h 685"/>
                <a:gd name="T78" fmla="*/ 330 w 740"/>
                <a:gd name="T79" fmla="*/ 384 h 685"/>
                <a:gd name="T80" fmla="*/ 291 w 740"/>
                <a:gd name="T81" fmla="*/ 437 h 685"/>
                <a:gd name="T82" fmla="*/ 259 w 740"/>
                <a:gd name="T83" fmla="*/ 454 h 685"/>
                <a:gd name="T84" fmla="*/ 41 w 740"/>
                <a:gd name="T85" fmla="*/ 455 h 685"/>
                <a:gd name="T86" fmla="*/ 1 w 740"/>
                <a:gd name="T87" fmla="*/ 412 h 685"/>
                <a:gd name="T88" fmla="*/ 42 w 740"/>
                <a:gd name="T89" fmla="*/ 373 h 685"/>
                <a:gd name="T90" fmla="*/ 205 w 740"/>
                <a:gd name="T91" fmla="*/ 373 h 685"/>
                <a:gd name="T92" fmla="*/ 237 w 740"/>
                <a:gd name="T93" fmla="*/ 352 h 685"/>
                <a:gd name="T94" fmla="*/ 271 w 740"/>
                <a:gd name="T95" fmla="*/ 278 h 685"/>
                <a:gd name="T96" fmla="*/ 304 w 740"/>
                <a:gd name="T97" fmla="*/ 206 h 685"/>
                <a:gd name="T98" fmla="*/ 334 w 740"/>
                <a:gd name="T99" fmla="*/ 141 h 685"/>
                <a:gd name="T100" fmla="*/ 358 w 740"/>
                <a:gd name="T101" fmla="*/ 88 h 685"/>
                <a:gd name="T102" fmla="*/ 359 w 740"/>
                <a:gd name="T103" fmla="*/ 85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40" h="685">
                  <a:moveTo>
                    <a:pt x="359" y="85"/>
                  </a:moveTo>
                  <a:cubicBezTo>
                    <a:pt x="338" y="82"/>
                    <a:pt x="318" y="79"/>
                    <a:pt x="297" y="76"/>
                  </a:cubicBezTo>
                  <a:cubicBezTo>
                    <a:pt x="286" y="74"/>
                    <a:pt x="274" y="72"/>
                    <a:pt x="263" y="70"/>
                  </a:cubicBezTo>
                  <a:cubicBezTo>
                    <a:pt x="253" y="69"/>
                    <a:pt x="247" y="73"/>
                    <a:pt x="241" y="80"/>
                  </a:cubicBezTo>
                  <a:cubicBezTo>
                    <a:pt x="220" y="105"/>
                    <a:pt x="200" y="129"/>
                    <a:pt x="179" y="154"/>
                  </a:cubicBezTo>
                  <a:cubicBezTo>
                    <a:pt x="171" y="164"/>
                    <a:pt x="159" y="168"/>
                    <a:pt x="147" y="165"/>
                  </a:cubicBezTo>
                  <a:cubicBezTo>
                    <a:pt x="134" y="162"/>
                    <a:pt x="126" y="154"/>
                    <a:pt x="123" y="141"/>
                  </a:cubicBezTo>
                  <a:cubicBezTo>
                    <a:pt x="120" y="132"/>
                    <a:pt x="122" y="122"/>
                    <a:pt x="129" y="114"/>
                  </a:cubicBezTo>
                  <a:cubicBezTo>
                    <a:pt x="157" y="80"/>
                    <a:pt x="185" y="46"/>
                    <a:pt x="214" y="12"/>
                  </a:cubicBezTo>
                  <a:cubicBezTo>
                    <a:pt x="220" y="5"/>
                    <a:pt x="227" y="1"/>
                    <a:pt x="237" y="1"/>
                  </a:cubicBezTo>
                  <a:cubicBezTo>
                    <a:pt x="292" y="1"/>
                    <a:pt x="347" y="0"/>
                    <a:pt x="402" y="2"/>
                  </a:cubicBezTo>
                  <a:cubicBezTo>
                    <a:pt x="440" y="3"/>
                    <a:pt x="474" y="18"/>
                    <a:pt x="502" y="43"/>
                  </a:cubicBezTo>
                  <a:cubicBezTo>
                    <a:pt x="520" y="59"/>
                    <a:pt x="533" y="79"/>
                    <a:pt x="544" y="99"/>
                  </a:cubicBezTo>
                  <a:cubicBezTo>
                    <a:pt x="556" y="123"/>
                    <a:pt x="569" y="147"/>
                    <a:pt x="582" y="170"/>
                  </a:cubicBezTo>
                  <a:cubicBezTo>
                    <a:pt x="589" y="184"/>
                    <a:pt x="596" y="197"/>
                    <a:pt x="603" y="210"/>
                  </a:cubicBezTo>
                  <a:cubicBezTo>
                    <a:pt x="606" y="215"/>
                    <a:pt x="610" y="216"/>
                    <a:pt x="614" y="213"/>
                  </a:cubicBezTo>
                  <a:cubicBezTo>
                    <a:pt x="640" y="196"/>
                    <a:pt x="665" y="178"/>
                    <a:pt x="690" y="161"/>
                  </a:cubicBezTo>
                  <a:cubicBezTo>
                    <a:pt x="701" y="154"/>
                    <a:pt x="713" y="154"/>
                    <a:pt x="724" y="160"/>
                  </a:cubicBezTo>
                  <a:cubicBezTo>
                    <a:pt x="734" y="167"/>
                    <a:pt x="740" y="177"/>
                    <a:pt x="739" y="190"/>
                  </a:cubicBezTo>
                  <a:cubicBezTo>
                    <a:pt x="739" y="202"/>
                    <a:pt x="732" y="210"/>
                    <a:pt x="722" y="217"/>
                  </a:cubicBezTo>
                  <a:cubicBezTo>
                    <a:pt x="707" y="227"/>
                    <a:pt x="693" y="237"/>
                    <a:pt x="679" y="247"/>
                  </a:cubicBezTo>
                  <a:cubicBezTo>
                    <a:pt x="655" y="263"/>
                    <a:pt x="631" y="280"/>
                    <a:pt x="606" y="297"/>
                  </a:cubicBezTo>
                  <a:cubicBezTo>
                    <a:pt x="593" y="305"/>
                    <a:pt x="577" y="299"/>
                    <a:pt x="569" y="287"/>
                  </a:cubicBezTo>
                  <a:cubicBezTo>
                    <a:pt x="542" y="248"/>
                    <a:pt x="515" y="209"/>
                    <a:pt x="488" y="170"/>
                  </a:cubicBezTo>
                  <a:cubicBezTo>
                    <a:pt x="488" y="170"/>
                    <a:pt x="487" y="169"/>
                    <a:pt x="486" y="168"/>
                  </a:cubicBezTo>
                  <a:cubicBezTo>
                    <a:pt x="465" y="198"/>
                    <a:pt x="444" y="227"/>
                    <a:pt x="423" y="257"/>
                  </a:cubicBezTo>
                  <a:cubicBezTo>
                    <a:pt x="427" y="261"/>
                    <a:pt x="431" y="265"/>
                    <a:pt x="434" y="268"/>
                  </a:cubicBezTo>
                  <a:cubicBezTo>
                    <a:pt x="474" y="303"/>
                    <a:pt x="514" y="338"/>
                    <a:pt x="554" y="374"/>
                  </a:cubicBezTo>
                  <a:cubicBezTo>
                    <a:pt x="559" y="378"/>
                    <a:pt x="565" y="383"/>
                    <a:pt x="570" y="388"/>
                  </a:cubicBezTo>
                  <a:cubicBezTo>
                    <a:pt x="579" y="396"/>
                    <a:pt x="583" y="407"/>
                    <a:pt x="583" y="419"/>
                  </a:cubicBezTo>
                  <a:cubicBezTo>
                    <a:pt x="583" y="440"/>
                    <a:pt x="583" y="461"/>
                    <a:pt x="583" y="483"/>
                  </a:cubicBezTo>
                  <a:cubicBezTo>
                    <a:pt x="584" y="534"/>
                    <a:pt x="584" y="585"/>
                    <a:pt x="584" y="637"/>
                  </a:cubicBezTo>
                  <a:cubicBezTo>
                    <a:pt x="584" y="653"/>
                    <a:pt x="577" y="666"/>
                    <a:pt x="563" y="674"/>
                  </a:cubicBezTo>
                  <a:cubicBezTo>
                    <a:pt x="541" y="685"/>
                    <a:pt x="513" y="676"/>
                    <a:pt x="505" y="652"/>
                  </a:cubicBezTo>
                  <a:cubicBezTo>
                    <a:pt x="503" y="647"/>
                    <a:pt x="503" y="642"/>
                    <a:pt x="503" y="637"/>
                  </a:cubicBezTo>
                  <a:cubicBezTo>
                    <a:pt x="502" y="579"/>
                    <a:pt x="502" y="522"/>
                    <a:pt x="503" y="465"/>
                  </a:cubicBezTo>
                  <a:cubicBezTo>
                    <a:pt x="503" y="450"/>
                    <a:pt x="498" y="439"/>
                    <a:pt x="485" y="431"/>
                  </a:cubicBezTo>
                  <a:cubicBezTo>
                    <a:pt x="444" y="402"/>
                    <a:pt x="402" y="373"/>
                    <a:pt x="361" y="345"/>
                  </a:cubicBezTo>
                  <a:cubicBezTo>
                    <a:pt x="361" y="344"/>
                    <a:pt x="360" y="344"/>
                    <a:pt x="359" y="344"/>
                  </a:cubicBezTo>
                  <a:cubicBezTo>
                    <a:pt x="350" y="357"/>
                    <a:pt x="340" y="371"/>
                    <a:pt x="330" y="384"/>
                  </a:cubicBezTo>
                  <a:cubicBezTo>
                    <a:pt x="317" y="402"/>
                    <a:pt x="304" y="420"/>
                    <a:pt x="291" y="437"/>
                  </a:cubicBezTo>
                  <a:cubicBezTo>
                    <a:pt x="283" y="448"/>
                    <a:pt x="273" y="454"/>
                    <a:pt x="259" y="454"/>
                  </a:cubicBezTo>
                  <a:cubicBezTo>
                    <a:pt x="186" y="454"/>
                    <a:pt x="113" y="455"/>
                    <a:pt x="41" y="455"/>
                  </a:cubicBezTo>
                  <a:cubicBezTo>
                    <a:pt x="17" y="455"/>
                    <a:pt x="0" y="435"/>
                    <a:pt x="1" y="412"/>
                  </a:cubicBezTo>
                  <a:cubicBezTo>
                    <a:pt x="1" y="390"/>
                    <a:pt x="21" y="373"/>
                    <a:pt x="42" y="373"/>
                  </a:cubicBezTo>
                  <a:cubicBezTo>
                    <a:pt x="97" y="373"/>
                    <a:pt x="151" y="373"/>
                    <a:pt x="205" y="373"/>
                  </a:cubicBezTo>
                  <a:cubicBezTo>
                    <a:pt x="226" y="373"/>
                    <a:pt x="231" y="367"/>
                    <a:pt x="237" y="352"/>
                  </a:cubicBezTo>
                  <a:cubicBezTo>
                    <a:pt x="248" y="327"/>
                    <a:pt x="260" y="303"/>
                    <a:pt x="271" y="278"/>
                  </a:cubicBezTo>
                  <a:cubicBezTo>
                    <a:pt x="282" y="254"/>
                    <a:pt x="293" y="230"/>
                    <a:pt x="304" y="206"/>
                  </a:cubicBezTo>
                  <a:cubicBezTo>
                    <a:pt x="314" y="184"/>
                    <a:pt x="324" y="163"/>
                    <a:pt x="334" y="141"/>
                  </a:cubicBezTo>
                  <a:cubicBezTo>
                    <a:pt x="342" y="123"/>
                    <a:pt x="350" y="106"/>
                    <a:pt x="358" y="88"/>
                  </a:cubicBezTo>
                  <a:cubicBezTo>
                    <a:pt x="358" y="88"/>
                    <a:pt x="358" y="87"/>
                    <a:pt x="359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59E5581-CD2B-4F8A-BA84-3E83A56A3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806" y="1262522"/>
              <a:ext cx="111125" cy="219075"/>
            </a:xfrm>
            <a:custGeom>
              <a:avLst/>
              <a:gdLst>
                <a:gd name="T0" fmla="*/ 78 w 157"/>
                <a:gd name="T1" fmla="*/ 0 h 156"/>
                <a:gd name="T2" fmla="*/ 157 w 157"/>
                <a:gd name="T3" fmla="*/ 78 h 156"/>
                <a:gd name="T4" fmla="*/ 79 w 157"/>
                <a:gd name="T5" fmla="*/ 156 h 156"/>
                <a:gd name="T6" fmla="*/ 0 w 157"/>
                <a:gd name="T7" fmla="*/ 78 h 156"/>
                <a:gd name="T8" fmla="*/ 78 w 157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6">
                  <a:moveTo>
                    <a:pt x="78" y="0"/>
                  </a:moveTo>
                  <a:cubicBezTo>
                    <a:pt x="123" y="0"/>
                    <a:pt x="157" y="34"/>
                    <a:pt x="157" y="78"/>
                  </a:cubicBezTo>
                  <a:cubicBezTo>
                    <a:pt x="156" y="121"/>
                    <a:pt x="123" y="156"/>
                    <a:pt x="79" y="156"/>
                  </a:cubicBezTo>
                  <a:cubicBezTo>
                    <a:pt x="34" y="156"/>
                    <a:pt x="0" y="122"/>
                    <a:pt x="0" y="78"/>
                  </a:cubicBezTo>
                  <a:cubicBezTo>
                    <a:pt x="0" y="33"/>
                    <a:pt x="34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03" name="Oval 102">
            <a:extLst>
              <a:ext uri="{FF2B5EF4-FFF2-40B4-BE49-F238E27FC236}">
                <a16:creationId xmlns:a16="http://schemas.microsoft.com/office/drawing/2014/main" id="{3A0C1378-CC4A-424C-AB13-F2CA1EBF5F9F}"/>
              </a:ext>
            </a:extLst>
          </p:cNvPr>
          <p:cNvSpPr/>
          <p:nvPr/>
        </p:nvSpPr>
        <p:spPr>
          <a:xfrm>
            <a:off x="1896926" y="3990468"/>
            <a:ext cx="300265" cy="63286"/>
          </a:xfrm>
          <a:prstGeom prst="ellipse">
            <a:avLst/>
          </a:prstGeom>
          <a:solidFill>
            <a:srgbClr val="000000">
              <a:alpha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B87D65-0873-4C8F-A34A-667F9F00454F}"/>
              </a:ext>
            </a:extLst>
          </p:cNvPr>
          <p:cNvSpPr txBox="1"/>
          <p:nvPr/>
        </p:nvSpPr>
        <p:spPr>
          <a:xfrm>
            <a:off x="1800921" y="4338241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8.66%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C11917F-F706-4D15-A0C5-ED6616CC21CD}"/>
              </a:ext>
            </a:extLst>
          </p:cNvPr>
          <p:cNvSpPr txBox="1"/>
          <p:nvPr/>
        </p:nvSpPr>
        <p:spPr>
          <a:xfrm>
            <a:off x="3311407" y="3935812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0.70%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0B65535-6D69-445C-BB72-D35557516946}"/>
              </a:ext>
            </a:extLst>
          </p:cNvPr>
          <p:cNvSpPr txBox="1"/>
          <p:nvPr/>
        </p:nvSpPr>
        <p:spPr>
          <a:xfrm>
            <a:off x="4727724" y="3500036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2.53%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F2D3106-59CF-4E28-B900-255091E7C2AC}"/>
              </a:ext>
            </a:extLst>
          </p:cNvPr>
          <p:cNvSpPr txBox="1"/>
          <p:nvPr/>
        </p:nvSpPr>
        <p:spPr>
          <a:xfrm>
            <a:off x="6202950" y="3105877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6.50%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361E5F5-8BC3-4F1A-A685-3762FD072C00}"/>
              </a:ext>
            </a:extLst>
          </p:cNvPr>
          <p:cNvSpPr txBox="1"/>
          <p:nvPr/>
        </p:nvSpPr>
        <p:spPr>
          <a:xfrm>
            <a:off x="7665047" y="2674788"/>
            <a:ext cx="1049231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6.90%</a:t>
            </a: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D9C6E69E-88C0-4B4B-9E9A-6A9843699455}"/>
              </a:ext>
            </a:extLst>
          </p:cNvPr>
          <p:cNvSpPr txBox="1">
            <a:spLocks/>
          </p:cNvSpPr>
          <p:nvPr/>
        </p:nvSpPr>
        <p:spPr>
          <a:xfrm>
            <a:off x="180577" y="291439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Models Used</a:t>
            </a:r>
          </a:p>
        </p:txBody>
      </p:sp>
      <p:graphicFrame>
        <p:nvGraphicFramePr>
          <p:cNvPr id="39" name="Table 7">
            <a:extLst>
              <a:ext uri="{FF2B5EF4-FFF2-40B4-BE49-F238E27FC236}">
                <a16:creationId xmlns:a16="http://schemas.microsoft.com/office/drawing/2014/main" id="{7BA35157-9852-2F47-B440-159D169A5B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776285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757281E0-AF7C-B348-9DA2-34B4B23D84F7}"/>
              </a:ext>
            </a:extLst>
          </p:cNvPr>
          <p:cNvSpPr/>
          <p:nvPr/>
        </p:nvSpPr>
        <p:spPr>
          <a:xfrm>
            <a:off x="7819696" y="6253064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2C3D687-6BCF-214F-86AC-6C5ACD8AEB10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77938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E92DC-175D-E749-B791-2EDFDEACAA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Model Test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3FF0C4-7BD5-E641-A7EC-54F284718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640" y="1063254"/>
            <a:ext cx="7905453" cy="402812"/>
          </a:xfrm>
        </p:spPr>
        <p:txBody>
          <a:bodyPr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Tested our results on </a:t>
            </a:r>
            <a:r>
              <a:rPr lang="en-US" sz="2800" dirty="0">
                <a:solidFill>
                  <a:srgbClr val="0045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ppecanoe</a:t>
            </a: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250DFBCB-D221-EA4D-8A62-960FC43803FD}"/>
              </a:ext>
            </a:extLst>
          </p:cNvPr>
          <p:cNvSpPr>
            <a:spLocks noEditPoints="1"/>
          </p:cNvSpPr>
          <p:nvPr/>
        </p:nvSpPr>
        <p:spPr bwMode="auto">
          <a:xfrm>
            <a:off x="2048887" y="2642197"/>
            <a:ext cx="1783391" cy="2143679"/>
          </a:xfrm>
          <a:custGeom>
            <a:avLst/>
            <a:gdLst>
              <a:gd name="T0" fmla="*/ 114 w 521"/>
              <a:gd name="T1" fmla="*/ 592 h 592"/>
              <a:gd name="T2" fmla="*/ 99 w 521"/>
              <a:gd name="T3" fmla="*/ 561 h 592"/>
              <a:gd name="T4" fmla="*/ 126 w 521"/>
              <a:gd name="T5" fmla="*/ 548 h 592"/>
              <a:gd name="T6" fmla="*/ 130 w 521"/>
              <a:gd name="T7" fmla="*/ 452 h 592"/>
              <a:gd name="T8" fmla="*/ 149 w 521"/>
              <a:gd name="T9" fmla="*/ 424 h 592"/>
              <a:gd name="T10" fmla="*/ 210 w 521"/>
              <a:gd name="T11" fmla="*/ 423 h 592"/>
              <a:gd name="T12" fmla="*/ 211 w 521"/>
              <a:gd name="T13" fmla="*/ 388 h 592"/>
              <a:gd name="T14" fmla="*/ 146 w 521"/>
              <a:gd name="T15" fmla="*/ 283 h 592"/>
              <a:gd name="T16" fmla="*/ 84 w 521"/>
              <a:gd name="T17" fmla="*/ 244 h 592"/>
              <a:gd name="T18" fmla="*/ 4 w 521"/>
              <a:gd name="T19" fmla="*/ 92 h 592"/>
              <a:gd name="T20" fmla="*/ 18 w 521"/>
              <a:gd name="T21" fmla="*/ 30 h 592"/>
              <a:gd name="T22" fmla="*/ 96 w 521"/>
              <a:gd name="T23" fmla="*/ 24 h 592"/>
              <a:gd name="T24" fmla="*/ 113 w 521"/>
              <a:gd name="T25" fmla="*/ 2 h 592"/>
              <a:gd name="T26" fmla="*/ 290 w 521"/>
              <a:gd name="T27" fmla="*/ 1 h 592"/>
              <a:gd name="T28" fmla="*/ 423 w 521"/>
              <a:gd name="T29" fmla="*/ 16 h 592"/>
              <a:gd name="T30" fmla="*/ 429 w 521"/>
              <a:gd name="T31" fmla="*/ 30 h 592"/>
              <a:gd name="T32" fmla="*/ 520 w 521"/>
              <a:gd name="T33" fmla="*/ 50 h 592"/>
              <a:gd name="T34" fmla="*/ 502 w 521"/>
              <a:gd name="T35" fmla="*/ 146 h 592"/>
              <a:gd name="T36" fmla="*/ 409 w 521"/>
              <a:gd name="T37" fmla="*/ 264 h 592"/>
              <a:gd name="T38" fmla="*/ 370 w 521"/>
              <a:gd name="T39" fmla="*/ 290 h 592"/>
              <a:gd name="T40" fmla="*/ 309 w 521"/>
              <a:gd name="T41" fmla="*/ 380 h 592"/>
              <a:gd name="T42" fmla="*/ 313 w 521"/>
              <a:gd name="T43" fmla="*/ 424 h 592"/>
              <a:gd name="T44" fmla="*/ 390 w 521"/>
              <a:gd name="T45" fmla="*/ 444 h 592"/>
              <a:gd name="T46" fmla="*/ 395 w 521"/>
              <a:gd name="T47" fmla="*/ 548 h 592"/>
              <a:gd name="T48" fmla="*/ 421 w 521"/>
              <a:gd name="T49" fmla="*/ 561 h 592"/>
              <a:gd name="T50" fmla="*/ 407 w 521"/>
              <a:gd name="T51" fmla="*/ 592 h 592"/>
              <a:gd name="T52" fmla="*/ 260 w 521"/>
              <a:gd name="T53" fmla="*/ 592 h 592"/>
              <a:gd name="T54" fmla="*/ 405 w 521"/>
              <a:gd name="T55" fmla="*/ 227 h 592"/>
              <a:gd name="T56" fmla="*/ 471 w 521"/>
              <a:gd name="T57" fmla="*/ 135 h 592"/>
              <a:gd name="T58" fmla="*/ 480 w 521"/>
              <a:gd name="T59" fmla="*/ 63 h 592"/>
              <a:gd name="T60" fmla="*/ 423 w 521"/>
              <a:gd name="T61" fmla="*/ 68 h 592"/>
              <a:gd name="T62" fmla="*/ 417 w 521"/>
              <a:gd name="T63" fmla="*/ 178 h 592"/>
              <a:gd name="T64" fmla="*/ 117 w 521"/>
              <a:gd name="T65" fmla="*/ 229 h 592"/>
              <a:gd name="T66" fmla="*/ 98 w 521"/>
              <a:gd name="T67" fmla="*/ 136 h 592"/>
              <a:gd name="T68" fmla="*/ 92 w 521"/>
              <a:gd name="T69" fmla="*/ 63 h 592"/>
              <a:gd name="T70" fmla="*/ 34 w 521"/>
              <a:gd name="T71" fmla="*/ 68 h 592"/>
              <a:gd name="T72" fmla="*/ 89 w 521"/>
              <a:gd name="T73" fmla="*/ 204 h 592"/>
              <a:gd name="T74" fmla="*/ 260 w 521"/>
              <a:gd name="T75" fmla="*/ 478 h 592"/>
              <a:gd name="T76" fmla="*/ 217 w 521"/>
              <a:gd name="T77" fmla="*/ 491 h 592"/>
              <a:gd name="T78" fmla="*/ 290 w 521"/>
              <a:gd name="T79" fmla="*/ 506 h 592"/>
              <a:gd name="T80" fmla="*/ 290 w 521"/>
              <a:gd name="T81" fmla="*/ 478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21" h="592">
                <a:moveTo>
                  <a:pt x="260" y="592"/>
                </a:moveTo>
                <a:cubicBezTo>
                  <a:pt x="211" y="592"/>
                  <a:pt x="162" y="592"/>
                  <a:pt x="114" y="592"/>
                </a:cubicBezTo>
                <a:cubicBezTo>
                  <a:pt x="104" y="592"/>
                  <a:pt x="99" y="587"/>
                  <a:pt x="99" y="577"/>
                </a:cubicBezTo>
                <a:cubicBezTo>
                  <a:pt x="99" y="571"/>
                  <a:pt x="99" y="566"/>
                  <a:pt x="99" y="561"/>
                </a:cubicBezTo>
                <a:cubicBezTo>
                  <a:pt x="99" y="553"/>
                  <a:pt x="104" y="548"/>
                  <a:pt x="112" y="548"/>
                </a:cubicBezTo>
                <a:cubicBezTo>
                  <a:pt x="117" y="548"/>
                  <a:pt x="121" y="547"/>
                  <a:pt x="126" y="548"/>
                </a:cubicBezTo>
                <a:cubicBezTo>
                  <a:pt x="129" y="548"/>
                  <a:pt x="131" y="547"/>
                  <a:pt x="131" y="543"/>
                </a:cubicBezTo>
                <a:cubicBezTo>
                  <a:pt x="130" y="513"/>
                  <a:pt x="130" y="482"/>
                  <a:pt x="130" y="452"/>
                </a:cubicBezTo>
                <a:cubicBezTo>
                  <a:pt x="130" y="446"/>
                  <a:pt x="129" y="440"/>
                  <a:pt x="132" y="434"/>
                </a:cubicBezTo>
                <a:cubicBezTo>
                  <a:pt x="136" y="427"/>
                  <a:pt x="141" y="424"/>
                  <a:pt x="149" y="424"/>
                </a:cubicBezTo>
                <a:cubicBezTo>
                  <a:pt x="165" y="424"/>
                  <a:pt x="181" y="424"/>
                  <a:pt x="197" y="424"/>
                </a:cubicBezTo>
                <a:cubicBezTo>
                  <a:pt x="201" y="424"/>
                  <a:pt x="207" y="426"/>
                  <a:pt x="210" y="423"/>
                </a:cubicBezTo>
                <a:cubicBezTo>
                  <a:pt x="213" y="420"/>
                  <a:pt x="211" y="414"/>
                  <a:pt x="211" y="409"/>
                </a:cubicBezTo>
                <a:cubicBezTo>
                  <a:pt x="211" y="402"/>
                  <a:pt x="211" y="395"/>
                  <a:pt x="211" y="388"/>
                </a:cubicBezTo>
                <a:cubicBezTo>
                  <a:pt x="213" y="368"/>
                  <a:pt x="205" y="351"/>
                  <a:pt x="190" y="338"/>
                </a:cubicBezTo>
                <a:cubicBezTo>
                  <a:pt x="173" y="322"/>
                  <a:pt x="158" y="303"/>
                  <a:pt x="146" y="283"/>
                </a:cubicBezTo>
                <a:cubicBezTo>
                  <a:pt x="142" y="278"/>
                  <a:pt x="137" y="277"/>
                  <a:pt x="132" y="275"/>
                </a:cubicBezTo>
                <a:cubicBezTo>
                  <a:pt x="114" y="267"/>
                  <a:pt x="98" y="257"/>
                  <a:pt x="84" y="244"/>
                </a:cubicBezTo>
                <a:cubicBezTo>
                  <a:pt x="58" y="223"/>
                  <a:pt x="40" y="196"/>
                  <a:pt x="26" y="165"/>
                </a:cubicBezTo>
                <a:cubicBezTo>
                  <a:pt x="16" y="142"/>
                  <a:pt x="9" y="117"/>
                  <a:pt x="4" y="92"/>
                </a:cubicBezTo>
                <a:cubicBezTo>
                  <a:pt x="1" y="78"/>
                  <a:pt x="0" y="63"/>
                  <a:pt x="0" y="48"/>
                </a:cubicBezTo>
                <a:cubicBezTo>
                  <a:pt x="0" y="36"/>
                  <a:pt x="6" y="30"/>
                  <a:pt x="18" y="30"/>
                </a:cubicBezTo>
                <a:cubicBezTo>
                  <a:pt x="43" y="30"/>
                  <a:pt x="67" y="30"/>
                  <a:pt x="91" y="30"/>
                </a:cubicBezTo>
                <a:cubicBezTo>
                  <a:pt x="95" y="30"/>
                  <a:pt x="97" y="28"/>
                  <a:pt x="96" y="24"/>
                </a:cubicBezTo>
                <a:cubicBezTo>
                  <a:pt x="96" y="22"/>
                  <a:pt x="96" y="20"/>
                  <a:pt x="96" y="18"/>
                </a:cubicBezTo>
                <a:cubicBezTo>
                  <a:pt x="97" y="8"/>
                  <a:pt x="103" y="2"/>
                  <a:pt x="113" y="2"/>
                </a:cubicBezTo>
                <a:cubicBezTo>
                  <a:pt x="155" y="2"/>
                  <a:pt x="198" y="2"/>
                  <a:pt x="240" y="2"/>
                </a:cubicBezTo>
                <a:cubicBezTo>
                  <a:pt x="256" y="2"/>
                  <a:pt x="273" y="0"/>
                  <a:pt x="290" y="1"/>
                </a:cubicBezTo>
                <a:cubicBezTo>
                  <a:pt x="329" y="3"/>
                  <a:pt x="369" y="1"/>
                  <a:pt x="409" y="2"/>
                </a:cubicBezTo>
                <a:cubicBezTo>
                  <a:pt x="417" y="2"/>
                  <a:pt x="423" y="8"/>
                  <a:pt x="423" y="16"/>
                </a:cubicBezTo>
                <a:cubicBezTo>
                  <a:pt x="423" y="18"/>
                  <a:pt x="423" y="21"/>
                  <a:pt x="423" y="24"/>
                </a:cubicBezTo>
                <a:cubicBezTo>
                  <a:pt x="423" y="30"/>
                  <a:pt x="423" y="30"/>
                  <a:pt x="429" y="30"/>
                </a:cubicBezTo>
                <a:cubicBezTo>
                  <a:pt x="453" y="30"/>
                  <a:pt x="477" y="30"/>
                  <a:pt x="501" y="30"/>
                </a:cubicBezTo>
                <a:cubicBezTo>
                  <a:pt x="515" y="30"/>
                  <a:pt x="521" y="36"/>
                  <a:pt x="520" y="50"/>
                </a:cubicBezTo>
                <a:cubicBezTo>
                  <a:pt x="519" y="65"/>
                  <a:pt x="518" y="79"/>
                  <a:pt x="515" y="94"/>
                </a:cubicBezTo>
                <a:cubicBezTo>
                  <a:pt x="513" y="112"/>
                  <a:pt x="508" y="129"/>
                  <a:pt x="502" y="146"/>
                </a:cubicBezTo>
                <a:cubicBezTo>
                  <a:pt x="492" y="171"/>
                  <a:pt x="480" y="195"/>
                  <a:pt x="463" y="216"/>
                </a:cubicBezTo>
                <a:cubicBezTo>
                  <a:pt x="448" y="236"/>
                  <a:pt x="430" y="252"/>
                  <a:pt x="409" y="264"/>
                </a:cubicBezTo>
                <a:cubicBezTo>
                  <a:pt x="400" y="269"/>
                  <a:pt x="391" y="274"/>
                  <a:pt x="382" y="277"/>
                </a:cubicBezTo>
                <a:cubicBezTo>
                  <a:pt x="375" y="279"/>
                  <a:pt x="373" y="285"/>
                  <a:pt x="370" y="290"/>
                </a:cubicBezTo>
                <a:cubicBezTo>
                  <a:pt x="357" y="309"/>
                  <a:pt x="342" y="327"/>
                  <a:pt x="325" y="343"/>
                </a:cubicBezTo>
                <a:cubicBezTo>
                  <a:pt x="314" y="353"/>
                  <a:pt x="309" y="365"/>
                  <a:pt x="309" y="380"/>
                </a:cubicBezTo>
                <a:cubicBezTo>
                  <a:pt x="309" y="393"/>
                  <a:pt x="309" y="406"/>
                  <a:pt x="309" y="419"/>
                </a:cubicBezTo>
                <a:cubicBezTo>
                  <a:pt x="309" y="423"/>
                  <a:pt x="310" y="424"/>
                  <a:pt x="313" y="424"/>
                </a:cubicBezTo>
                <a:cubicBezTo>
                  <a:pt x="332" y="424"/>
                  <a:pt x="351" y="424"/>
                  <a:pt x="370" y="424"/>
                </a:cubicBezTo>
                <a:cubicBezTo>
                  <a:pt x="381" y="424"/>
                  <a:pt x="390" y="432"/>
                  <a:pt x="390" y="444"/>
                </a:cubicBezTo>
                <a:cubicBezTo>
                  <a:pt x="389" y="476"/>
                  <a:pt x="390" y="509"/>
                  <a:pt x="389" y="542"/>
                </a:cubicBezTo>
                <a:cubicBezTo>
                  <a:pt x="389" y="547"/>
                  <a:pt x="391" y="548"/>
                  <a:pt x="395" y="548"/>
                </a:cubicBezTo>
                <a:cubicBezTo>
                  <a:pt x="399" y="547"/>
                  <a:pt x="404" y="548"/>
                  <a:pt x="408" y="548"/>
                </a:cubicBezTo>
                <a:cubicBezTo>
                  <a:pt x="416" y="548"/>
                  <a:pt x="421" y="553"/>
                  <a:pt x="421" y="561"/>
                </a:cubicBezTo>
                <a:cubicBezTo>
                  <a:pt x="421" y="566"/>
                  <a:pt x="421" y="572"/>
                  <a:pt x="421" y="578"/>
                </a:cubicBezTo>
                <a:cubicBezTo>
                  <a:pt x="421" y="587"/>
                  <a:pt x="416" y="592"/>
                  <a:pt x="407" y="592"/>
                </a:cubicBezTo>
                <a:cubicBezTo>
                  <a:pt x="383" y="592"/>
                  <a:pt x="359" y="592"/>
                  <a:pt x="336" y="592"/>
                </a:cubicBezTo>
                <a:cubicBezTo>
                  <a:pt x="310" y="592"/>
                  <a:pt x="285" y="592"/>
                  <a:pt x="260" y="592"/>
                </a:cubicBezTo>
                <a:close/>
                <a:moveTo>
                  <a:pt x="402" y="228"/>
                </a:moveTo>
                <a:cubicBezTo>
                  <a:pt x="404" y="229"/>
                  <a:pt x="405" y="228"/>
                  <a:pt x="405" y="227"/>
                </a:cubicBezTo>
                <a:cubicBezTo>
                  <a:pt x="412" y="222"/>
                  <a:pt x="418" y="217"/>
                  <a:pt x="424" y="211"/>
                </a:cubicBezTo>
                <a:cubicBezTo>
                  <a:pt x="445" y="190"/>
                  <a:pt x="460" y="164"/>
                  <a:pt x="471" y="135"/>
                </a:cubicBezTo>
                <a:cubicBezTo>
                  <a:pt x="478" y="114"/>
                  <a:pt x="483" y="92"/>
                  <a:pt x="486" y="69"/>
                </a:cubicBezTo>
                <a:cubicBezTo>
                  <a:pt x="487" y="63"/>
                  <a:pt x="487" y="63"/>
                  <a:pt x="480" y="63"/>
                </a:cubicBezTo>
                <a:cubicBezTo>
                  <a:pt x="463" y="63"/>
                  <a:pt x="446" y="63"/>
                  <a:pt x="428" y="63"/>
                </a:cubicBezTo>
                <a:cubicBezTo>
                  <a:pt x="424" y="63"/>
                  <a:pt x="423" y="64"/>
                  <a:pt x="423" y="68"/>
                </a:cubicBezTo>
                <a:cubicBezTo>
                  <a:pt x="423" y="81"/>
                  <a:pt x="423" y="94"/>
                  <a:pt x="423" y="108"/>
                </a:cubicBezTo>
                <a:cubicBezTo>
                  <a:pt x="423" y="131"/>
                  <a:pt x="422" y="155"/>
                  <a:pt x="417" y="178"/>
                </a:cubicBezTo>
                <a:cubicBezTo>
                  <a:pt x="413" y="195"/>
                  <a:pt x="408" y="212"/>
                  <a:pt x="402" y="228"/>
                </a:cubicBezTo>
                <a:close/>
                <a:moveTo>
                  <a:pt x="117" y="229"/>
                </a:moveTo>
                <a:cubicBezTo>
                  <a:pt x="114" y="217"/>
                  <a:pt x="110" y="205"/>
                  <a:pt x="107" y="193"/>
                </a:cubicBezTo>
                <a:cubicBezTo>
                  <a:pt x="102" y="174"/>
                  <a:pt x="99" y="155"/>
                  <a:pt x="98" y="136"/>
                </a:cubicBezTo>
                <a:cubicBezTo>
                  <a:pt x="96" y="113"/>
                  <a:pt x="97" y="90"/>
                  <a:pt x="97" y="68"/>
                </a:cubicBezTo>
                <a:cubicBezTo>
                  <a:pt x="97" y="64"/>
                  <a:pt x="96" y="63"/>
                  <a:pt x="92" y="63"/>
                </a:cubicBezTo>
                <a:cubicBezTo>
                  <a:pt x="74" y="63"/>
                  <a:pt x="56" y="63"/>
                  <a:pt x="38" y="63"/>
                </a:cubicBezTo>
                <a:cubicBezTo>
                  <a:pt x="34" y="63"/>
                  <a:pt x="33" y="64"/>
                  <a:pt x="34" y="68"/>
                </a:cubicBezTo>
                <a:cubicBezTo>
                  <a:pt x="37" y="92"/>
                  <a:pt x="42" y="115"/>
                  <a:pt x="50" y="138"/>
                </a:cubicBezTo>
                <a:cubicBezTo>
                  <a:pt x="59" y="162"/>
                  <a:pt x="72" y="184"/>
                  <a:pt x="89" y="204"/>
                </a:cubicBezTo>
                <a:cubicBezTo>
                  <a:pt x="97" y="213"/>
                  <a:pt x="107" y="222"/>
                  <a:pt x="117" y="229"/>
                </a:cubicBezTo>
                <a:close/>
                <a:moveTo>
                  <a:pt x="260" y="478"/>
                </a:moveTo>
                <a:cubicBezTo>
                  <a:pt x="250" y="478"/>
                  <a:pt x="240" y="478"/>
                  <a:pt x="230" y="478"/>
                </a:cubicBezTo>
                <a:cubicBezTo>
                  <a:pt x="222" y="478"/>
                  <a:pt x="217" y="484"/>
                  <a:pt x="217" y="491"/>
                </a:cubicBezTo>
                <a:cubicBezTo>
                  <a:pt x="217" y="500"/>
                  <a:pt x="222" y="505"/>
                  <a:pt x="230" y="506"/>
                </a:cubicBezTo>
                <a:cubicBezTo>
                  <a:pt x="250" y="506"/>
                  <a:pt x="270" y="506"/>
                  <a:pt x="290" y="506"/>
                </a:cubicBezTo>
                <a:cubicBezTo>
                  <a:pt x="298" y="505"/>
                  <a:pt x="303" y="500"/>
                  <a:pt x="303" y="492"/>
                </a:cubicBezTo>
                <a:cubicBezTo>
                  <a:pt x="303" y="484"/>
                  <a:pt x="298" y="478"/>
                  <a:pt x="290" y="478"/>
                </a:cubicBezTo>
                <a:cubicBezTo>
                  <a:pt x="280" y="478"/>
                  <a:pt x="270" y="478"/>
                  <a:pt x="260" y="478"/>
                </a:cubicBezTo>
                <a:close/>
              </a:path>
            </a:pathLst>
          </a:custGeom>
          <a:solidFill>
            <a:srgbClr val="004584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2050EDD2-1EEF-8341-BF21-8851DC570DE0}"/>
              </a:ext>
            </a:extLst>
          </p:cNvPr>
          <p:cNvSpPr>
            <a:spLocks noEditPoints="1"/>
          </p:cNvSpPr>
          <p:nvPr/>
        </p:nvSpPr>
        <p:spPr bwMode="auto">
          <a:xfrm>
            <a:off x="4176316" y="2072123"/>
            <a:ext cx="2091848" cy="2713754"/>
          </a:xfrm>
          <a:custGeom>
            <a:avLst/>
            <a:gdLst>
              <a:gd name="T0" fmla="*/ 114 w 521"/>
              <a:gd name="T1" fmla="*/ 592 h 592"/>
              <a:gd name="T2" fmla="*/ 99 w 521"/>
              <a:gd name="T3" fmla="*/ 561 h 592"/>
              <a:gd name="T4" fmla="*/ 126 w 521"/>
              <a:gd name="T5" fmla="*/ 548 h 592"/>
              <a:gd name="T6" fmla="*/ 130 w 521"/>
              <a:gd name="T7" fmla="*/ 452 h 592"/>
              <a:gd name="T8" fmla="*/ 149 w 521"/>
              <a:gd name="T9" fmla="*/ 424 h 592"/>
              <a:gd name="T10" fmla="*/ 210 w 521"/>
              <a:gd name="T11" fmla="*/ 423 h 592"/>
              <a:gd name="T12" fmla="*/ 211 w 521"/>
              <a:gd name="T13" fmla="*/ 388 h 592"/>
              <a:gd name="T14" fmla="*/ 146 w 521"/>
              <a:gd name="T15" fmla="*/ 283 h 592"/>
              <a:gd name="T16" fmla="*/ 84 w 521"/>
              <a:gd name="T17" fmla="*/ 244 h 592"/>
              <a:gd name="T18" fmla="*/ 4 w 521"/>
              <a:gd name="T19" fmla="*/ 92 h 592"/>
              <a:gd name="T20" fmla="*/ 18 w 521"/>
              <a:gd name="T21" fmla="*/ 30 h 592"/>
              <a:gd name="T22" fmla="*/ 96 w 521"/>
              <a:gd name="T23" fmla="*/ 24 h 592"/>
              <a:gd name="T24" fmla="*/ 113 w 521"/>
              <a:gd name="T25" fmla="*/ 2 h 592"/>
              <a:gd name="T26" fmla="*/ 290 w 521"/>
              <a:gd name="T27" fmla="*/ 1 h 592"/>
              <a:gd name="T28" fmla="*/ 423 w 521"/>
              <a:gd name="T29" fmla="*/ 16 h 592"/>
              <a:gd name="T30" fmla="*/ 429 w 521"/>
              <a:gd name="T31" fmla="*/ 30 h 592"/>
              <a:gd name="T32" fmla="*/ 520 w 521"/>
              <a:gd name="T33" fmla="*/ 50 h 592"/>
              <a:gd name="T34" fmla="*/ 502 w 521"/>
              <a:gd name="T35" fmla="*/ 146 h 592"/>
              <a:gd name="T36" fmla="*/ 409 w 521"/>
              <a:gd name="T37" fmla="*/ 264 h 592"/>
              <a:gd name="T38" fmla="*/ 370 w 521"/>
              <a:gd name="T39" fmla="*/ 290 h 592"/>
              <a:gd name="T40" fmla="*/ 309 w 521"/>
              <a:gd name="T41" fmla="*/ 380 h 592"/>
              <a:gd name="T42" fmla="*/ 313 w 521"/>
              <a:gd name="T43" fmla="*/ 424 h 592"/>
              <a:gd name="T44" fmla="*/ 390 w 521"/>
              <a:gd name="T45" fmla="*/ 444 h 592"/>
              <a:gd name="T46" fmla="*/ 395 w 521"/>
              <a:gd name="T47" fmla="*/ 548 h 592"/>
              <a:gd name="T48" fmla="*/ 421 w 521"/>
              <a:gd name="T49" fmla="*/ 561 h 592"/>
              <a:gd name="T50" fmla="*/ 407 w 521"/>
              <a:gd name="T51" fmla="*/ 592 h 592"/>
              <a:gd name="T52" fmla="*/ 260 w 521"/>
              <a:gd name="T53" fmla="*/ 592 h 592"/>
              <a:gd name="T54" fmla="*/ 405 w 521"/>
              <a:gd name="T55" fmla="*/ 227 h 592"/>
              <a:gd name="T56" fmla="*/ 471 w 521"/>
              <a:gd name="T57" fmla="*/ 135 h 592"/>
              <a:gd name="T58" fmla="*/ 480 w 521"/>
              <a:gd name="T59" fmla="*/ 63 h 592"/>
              <a:gd name="T60" fmla="*/ 423 w 521"/>
              <a:gd name="T61" fmla="*/ 68 h 592"/>
              <a:gd name="T62" fmla="*/ 417 w 521"/>
              <a:gd name="T63" fmla="*/ 178 h 592"/>
              <a:gd name="T64" fmla="*/ 117 w 521"/>
              <a:gd name="T65" fmla="*/ 229 h 592"/>
              <a:gd name="T66" fmla="*/ 98 w 521"/>
              <a:gd name="T67" fmla="*/ 136 h 592"/>
              <a:gd name="T68" fmla="*/ 92 w 521"/>
              <a:gd name="T69" fmla="*/ 63 h 592"/>
              <a:gd name="T70" fmla="*/ 34 w 521"/>
              <a:gd name="T71" fmla="*/ 68 h 592"/>
              <a:gd name="T72" fmla="*/ 89 w 521"/>
              <a:gd name="T73" fmla="*/ 204 h 592"/>
              <a:gd name="T74" fmla="*/ 260 w 521"/>
              <a:gd name="T75" fmla="*/ 478 h 592"/>
              <a:gd name="T76" fmla="*/ 217 w 521"/>
              <a:gd name="T77" fmla="*/ 491 h 592"/>
              <a:gd name="T78" fmla="*/ 290 w 521"/>
              <a:gd name="T79" fmla="*/ 506 h 592"/>
              <a:gd name="T80" fmla="*/ 290 w 521"/>
              <a:gd name="T81" fmla="*/ 478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21" h="592">
                <a:moveTo>
                  <a:pt x="260" y="592"/>
                </a:moveTo>
                <a:cubicBezTo>
                  <a:pt x="211" y="592"/>
                  <a:pt x="162" y="592"/>
                  <a:pt x="114" y="592"/>
                </a:cubicBezTo>
                <a:cubicBezTo>
                  <a:pt x="104" y="592"/>
                  <a:pt x="99" y="587"/>
                  <a:pt x="99" y="577"/>
                </a:cubicBezTo>
                <a:cubicBezTo>
                  <a:pt x="99" y="571"/>
                  <a:pt x="99" y="566"/>
                  <a:pt x="99" y="561"/>
                </a:cubicBezTo>
                <a:cubicBezTo>
                  <a:pt x="99" y="553"/>
                  <a:pt x="104" y="548"/>
                  <a:pt x="112" y="548"/>
                </a:cubicBezTo>
                <a:cubicBezTo>
                  <a:pt x="117" y="548"/>
                  <a:pt x="121" y="547"/>
                  <a:pt x="126" y="548"/>
                </a:cubicBezTo>
                <a:cubicBezTo>
                  <a:pt x="129" y="548"/>
                  <a:pt x="131" y="547"/>
                  <a:pt x="131" y="543"/>
                </a:cubicBezTo>
                <a:cubicBezTo>
                  <a:pt x="130" y="513"/>
                  <a:pt x="130" y="482"/>
                  <a:pt x="130" y="452"/>
                </a:cubicBezTo>
                <a:cubicBezTo>
                  <a:pt x="130" y="446"/>
                  <a:pt x="129" y="440"/>
                  <a:pt x="132" y="434"/>
                </a:cubicBezTo>
                <a:cubicBezTo>
                  <a:pt x="136" y="427"/>
                  <a:pt x="141" y="424"/>
                  <a:pt x="149" y="424"/>
                </a:cubicBezTo>
                <a:cubicBezTo>
                  <a:pt x="165" y="424"/>
                  <a:pt x="181" y="424"/>
                  <a:pt x="197" y="424"/>
                </a:cubicBezTo>
                <a:cubicBezTo>
                  <a:pt x="201" y="424"/>
                  <a:pt x="207" y="426"/>
                  <a:pt x="210" y="423"/>
                </a:cubicBezTo>
                <a:cubicBezTo>
                  <a:pt x="213" y="420"/>
                  <a:pt x="211" y="414"/>
                  <a:pt x="211" y="409"/>
                </a:cubicBezTo>
                <a:cubicBezTo>
                  <a:pt x="211" y="402"/>
                  <a:pt x="211" y="395"/>
                  <a:pt x="211" y="388"/>
                </a:cubicBezTo>
                <a:cubicBezTo>
                  <a:pt x="213" y="368"/>
                  <a:pt x="205" y="351"/>
                  <a:pt x="190" y="338"/>
                </a:cubicBezTo>
                <a:cubicBezTo>
                  <a:pt x="173" y="322"/>
                  <a:pt x="158" y="303"/>
                  <a:pt x="146" y="283"/>
                </a:cubicBezTo>
                <a:cubicBezTo>
                  <a:pt x="142" y="278"/>
                  <a:pt x="137" y="277"/>
                  <a:pt x="132" y="275"/>
                </a:cubicBezTo>
                <a:cubicBezTo>
                  <a:pt x="114" y="267"/>
                  <a:pt x="98" y="257"/>
                  <a:pt x="84" y="244"/>
                </a:cubicBezTo>
                <a:cubicBezTo>
                  <a:pt x="58" y="223"/>
                  <a:pt x="40" y="196"/>
                  <a:pt x="26" y="165"/>
                </a:cubicBezTo>
                <a:cubicBezTo>
                  <a:pt x="16" y="142"/>
                  <a:pt x="9" y="117"/>
                  <a:pt x="4" y="92"/>
                </a:cubicBezTo>
                <a:cubicBezTo>
                  <a:pt x="1" y="78"/>
                  <a:pt x="0" y="63"/>
                  <a:pt x="0" y="48"/>
                </a:cubicBezTo>
                <a:cubicBezTo>
                  <a:pt x="0" y="36"/>
                  <a:pt x="6" y="30"/>
                  <a:pt x="18" y="30"/>
                </a:cubicBezTo>
                <a:cubicBezTo>
                  <a:pt x="43" y="30"/>
                  <a:pt x="67" y="30"/>
                  <a:pt x="91" y="30"/>
                </a:cubicBezTo>
                <a:cubicBezTo>
                  <a:pt x="95" y="30"/>
                  <a:pt x="97" y="28"/>
                  <a:pt x="96" y="24"/>
                </a:cubicBezTo>
                <a:cubicBezTo>
                  <a:pt x="96" y="22"/>
                  <a:pt x="96" y="20"/>
                  <a:pt x="96" y="18"/>
                </a:cubicBezTo>
                <a:cubicBezTo>
                  <a:pt x="97" y="8"/>
                  <a:pt x="103" y="2"/>
                  <a:pt x="113" y="2"/>
                </a:cubicBezTo>
                <a:cubicBezTo>
                  <a:pt x="155" y="2"/>
                  <a:pt x="198" y="2"/>
                  <a:pt x="240" y="2"/>
                </a:cubicBezTo>
                <a:cubicBezTo>
                  <a:pt x="256" y="2"/>
                  <a:pt x="273" y="0"/>
                  <a:pt x="290" y="1"/>
                </a:cubicBezTo>
                <a:cubicBezTo>
                  <a:pt x="329" y="3"/>
                  <a:pt x="369" y="1"/>
                  <a:pt x="409" y="2"/>
                </a:cubicBezTo>
                <a:cubicBezTo>
                  <a:pt x="417" y="2"/>
                  <a:pt x="423" y="8"/>
                  <a:pt x="423" y="16"/>
                </a:cubicBezTo>
                <a:cubicBezTo>
                  <a:pt x="423" y="18"/>
                  <a:pt x="423" y="21"/>
                  <a:pt x="423" y="24"/>
                </a:cubicBezTo>
                <a:cubicBezTo>
                  <a:pt x="423" y="30"/>
                  <a:pt x="423" y="30"/>
                  <a:pt x="429" y="30"/>
                </a:cubicBezTo>
                <a:cubicBezTo>
                  <a:pt x="453" y="30"/>
                  <a:pt x="477" y="30"/>
                  <a:pt x="501" y="30"/>
                </a:cubicBezTo>
                <a:cubicBezTo>
                  <a:pt x="515" y="30"/>
                  <a:pt x="521" y="36"/>
                  <a:pt x="520" y="50"/>
                </a:cubicBezTo>
                <a:cubicBezTo>
                  <a:pt x="519" y="65"/>
                  <a:pt x="518" y="79"/>
                  <a:pt x="515" y="94"/>
                </a:cubicBezTo>
                <a:cubicBezTo>
                  <a:pt x="513" y="112"/>
                  <a:pt x="508" y="129"/>
                  <a:pt x="502" y="146"/>
                </a:cubicBezTo>
                <a:cubicBezTo>
                  <a:pt x="492" y="171"/>
                  <a:pt x="480" y="195"/>
                  <a:pt x="463" y="216"/>
                </a:cubicBezTo>
                <a:cubicBezTo>
                  <a:pt x="448" y="236"/>
                  <a:pt x="430" y="252"/>
                  <a:pt x="409" y="264"/>
                </a:cubicBezTo>
                <a:cubicBezTo>
                  <a:pt x="400" y="269"/>
                  <a:pt x="391" y="274"/>
                  <a:pt x="382" y="277"/>
                </a:cubicBezTo>
                <a:cubicBezTo>
                  <a:pt x="375" y="279"/>
                  <a:pt x="373" y="285"/>
                  <a:pt x="370" y="290"/>
                </a:cubicBezTo>
                <a:cubicBezTo>
                  <a:pt x="357" y="309"/>
                  <a:pt x="342" y="327"/>
                  <a:pt x="325" y="343"/>
                </a:cubicBezTo>
                <a:cubicBezTo>
                  <a:pt x="314" y="353"/>
                  <a:pt x="309" y="365"/>
                  <a:pt x="309" y="380"/>
                </a:cubicBezTo>
                <a:cubicBezTo>
                  <a:pt x="309" y="393"/>
                  <a:pt x="309" y="406"/>
                  <a:pt x="309" y="419"/>
                </a:cubicBezTo>
                <a:cubicBezTo>
                  <a:pt x="309" y="423"/>
                  <a:pt x="310" y="424"/>
                  <a:pt x="313" y="424"/>
                </a:cubicBezTo>
                <a:cubicBezTo>
                  <a:pt x="332" y="424"/>
                  <a:pt x="351" y="424"/>
                  <a:pt x="370" y="424"/>
                </a:cubicBezTo>
                <a:cubicBezTo>
                  <a:pt x="381" y="424"/>
                  <a:pt x="390" y="432"/>
                  <a:pt x="390" y="444"/>
                </a:cubicBezTo>
                <a:cubicBezTo>
                  <a:pt x="389" y="476"/>
                  <a:pt x="390" y="509"/>
                  <a:pt x="389" y="542"/>
                </a:cubicBezTo>
                <a:cubicBezTo>
                  <a:pt x="389" y="547"/>
                  <a:pt x="391" y="548"/>
                  <a:pt x="395" y="548"/>
                </a:cubicBezTo>
                <a:cubicBezTo>
                  <a:pt x="399" y="547"/>
                  <a:pt x="404" y="548"/>
                  <a:pt x="408" y="548"/>
                </a:cubicBezTo>
                <a:cubicBezTo>
                  <a:pt x="416" y="548"/>
                  <a:pt x="421" y="553"/>
                  <a:pt x="421" y="561"/>
                </a:cubicBezTo>
                <a:cubicBezTo>
                  <a:pt x="421" y="566"/>
                  <a:pt x="421" y="572"/>
                  <a:pt x="421" y="578"/>
                </a:cubicBezTo>
                <a:cubicBezTo>
                  <a:pt x="421" y="587"/>
                  <a:pt x="416" y="592"/>
                  <a:pt x="407" y="592"/>
                </a:cubicBezTo>
                <a:cubicBezTo>
                  <a:pt x="383" y="592"/>
                  <a:pt x="359" y="592"/>
                  <a:pt x="336" y="592"/>
                </a:cubicBezTo>
                <a:cubicBezTo>
                  <a:pt x="310" y="592"/>
                  <a:pt x="285" y="592"/>
                  <a:pt x="260" y="592"/>
                </a:cubicBezTo>
                <a:close/>
                <a:moveTo>
                  <a:pt x="402" y="228"/>
                </a:moveTo>
                <a:cubicBezTo>
                  <a:pt x="404" y="229"/>
                  <a:pt x="405" y="228"/>
                  <a:pt x="405" y="227"/>
                </a:cubicBezTo>
                <a:cubicBezTo>
                  <a:pt x="412" y="222"/>
                  <a:pt x="418" y="217"/>
                  <a:pt x="424" y="211"/>
                </a:cubicBezTo>
                <a:cubicBezTo>
                  <a:pt x="445" y="190"/>
                  <a:pt x="460" y="164"/>
                  <a:pt x="471" y="135"/>
                </a:cubicBezTo>
                <a:cubicBezTo>
                  <a:pt x="478" y="114"/>
                  <a:pt x="483" y="92"/>
                  <a:pt x="486" y="69"/>
                </a:cubicBezTo>
                <a:cubicBezTo>
                  <a:pt x="487" y="63"/>
                  <a:pt x="487" y="63"/>
                  <a:pt x="480" y="63"/>
                </a:cubicBezTo>
                <a:cubicBezTo>
                  <a:pt x="463" y="63"/>
                  <a:pt x="446" y="63"/>
                  <a:pt x="428" y="63"/>
                </a:cubicBezTo>
                <a:cubicBezTo>
                  <a:pt x="424" y="63"/>
                  <a:pt x="423" y="64"/>
                  <a:pt x="423" y="68"/>
                </a:cubicBezTo>
                <a:cubicBezTo>
                  <a:pt x="423" y="81"/>
                  <a:pt x="423" y="94"/>
                  <a:pt x="423" y="108"/>
                </a:cubicBezTo>
                <a:cubicBezTo>
                  <a:pt x="423" y="131"/>
                  <a:pt x="422" y="155"/>
                  <a:pt x="417" y="178"/>
                </a:cubicBezTo>
                <a:cubicBezTo>
                  <a:pt x="413" y="195"/>
                  <a:pt x="408" y="212"/>
                  <a:pt x="402" y="228"/>
                </a:cubicBezTo>
                <a:close/>
                <a:moveTo>
                  <a:pt x="117" y="229"/>
                </a:moveTo>
                <a:cubicBezTo>
                  <a:pt x="114" y="217"/>
                  <a:pt x="110" y="205"/>
                  <a:pt x="107" y="193"/>
                </a:cubicBezTo>
                <a:cubicBezTo>
                  <a:pt x="102" y="174"/>
                  <a:pt x="99" y="155"/>
                  <a:pt x="98" y="136"/>
                </a:cubicBezTo>
                <a:cubicBezTo>
                  <a:pt x="96" y="113"/>
                  <a:pt x="97" y="90"/>
                  <a:pt x="97" y="68"/>
                </a:cubicBezTo>
                <a:cubicBezTo>
                  <a:pt x="97" y="64"/>
                  <a:pt x="96" y="63"/>
                  <a:pt x="92" y="63"/>
                </a:cubicBezTo>
                <a:cubicBezTo>
                  <a:pt x="74" y="63"/>
                  <a:pt x="56" y="63"/>
                  <a:pt x="38" y="63"/>
                </a:cubicBezTo>
                <a:cubicBezTo>
                  <a:pt x="34" y="63"/>
                  <a:pt x="33" y="64"/>
                  <a:pt x="34" y="68"/>
                </a:cubicBezTo>
                <a:cubicBezTo>
                  <a:pt x="37" y="92"/>
                  <a:pt x="42" y="115"/>
                  <a:pt x="50" y="138"/>
                </a:cubicBezTo>
                <a:cubicBezTo>
                  <a:pt x="59" y="162"/>
                  <a:pt x="72" y="184"/>
                  <a:pt x="89" y="204"/>
                </a:cubicBezTo>
                <a:cubicBezTo>
                  <a:pt x="97" y="213"/>
                  <a:pt x="107" y="222"/>
                  <a:pt x="117" y="229"/>
                </a:cubicBezTo>
                <a:close/>
                <a:moveTo>
                  <a:pt x="260" y="478"/>
                </a:moveTo>
                <a:cubicBezTo>
                  <a:pt x="250" y="478"/>
                  <a:pt x="240" y="478"/>
                  <a:pt x="230" y="478"/>
                </a:cubicBezTo>
                <a:cubicBezTo>
                  <a:pt x="222" y="478"/>
                  <a:pt x="217" y="484"/>
                  <a:pt x="217" y="491"/>
                </a:cubicBezTo>
                <a:cubicBezTo>
                  <a:pt x="217" y="500"/>
                  <a:pt x="222" y="505"/>
                  <a:pt x="230" y="506"/>
                </a:cubicBezTo>
                <a:cubicBezTo>
                  <a:pt x="250" y="506"/>
                  <a:pt x="270" y="506"/>
                  <a:pt x="290" y="506"/>
                </a:cubicBezTo>
                <a:cubicBezTo>
                  <a:pt x="298" y="505"/>
                  <a:pt x="303" y="500"/>
                  <a:pt x="303" y="492"/>
                </a:cubicBezTo>
                <a:cubicBezTo>
                  <a:pt x="303" y="484"/>
                  <a:pt x="298" y="478"/>
                  <a:pt x="290" y="478"/>
                </a:cubicBezTo>
                <a:cubicBezTo>
                  <a:pt x="280" y="478"/>
                  <a:pt x="270" y="478"/>
                  <a:pt x="260" y="47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F1CA9202-0A44-A449-A339-DA6E187115D1}"/>
              </a:ext>
            </a:extLst>
          </p:cNvPr>
          <p:cNvSpPr>
            <a:spLocks noEditPoints="1"/>
          </p:cNvSpPr>
          <p:nvPr/>
        </p:nvSpPr>
        <p:spPr bwMode="auto">
          <a:xfrm>
            <a:off x="6646536" y="3032447"/>
            <a:ext cx="1264834" cy="1753429"/>
          </a:xfrm>
          <a:custGeom>
            <a:avLst/>
            <a:gdLst>
              <a:gd name="T0" fmla="*/ 114 w 521"/>
              <a:gd name="T1" fmla="*/ 592 h 592"/>
              <a:gd name="T2" fmla="*/ 99 w 521"/>
              <a:gd name="T3" fmla="*/ 561 h 592"/>
              <a:gd name="T4" fmla="*/ 126 w 521"/>
              <a:gd name="T5" fmla="*/ 548 h 592"/>
              <a:gd name="T6" fmla="*/ 130 w 521"/>
              <a:gd name="T7" fmla="*/ 452 h 592"/>
              <a:gd name="T8" fmla="*/ 149 w 521"/>
              <a:gd name="T9" fmla="*/ 424 h 592"/>
              <a:gd name="T10" fmla="*/ 210 w 521"/>
              <a:gd name="T11" fmla="*/ 423 h 592"/>
              <a:gd name="T12" fmla="*/ 211 w 521"/>
              <a:gd name="T13" fmla="*/ 388 h 592"/>
              <a:gd name="T14" fmla="*/ 146 w 521"/>
              <a:gd name="T15" fmla="*/ 283 h 592"/>
              <a:gd name="T16" fmla="*/ 84 w 521"/>
              <a:gd name="T17" fmla="*/ 244 h 592"/>
              <a:gd name="T18" fmla="*/ 4 w 521"/>
              <a:gd name="T19" fmla="*/ 92 h 592"/>
              <a:gd name="T20" fmla="*/ 18 w 521"/>
              <a:gd name="T21" fmla="*/ 30 h 592"/>
              <a:gd name="T22" fmla="*/ 96 w 521"/>
              <a:gd name="T23" fmla="*/ 24 h 592"/>
              <a:gd name="T24" fmla="*/ 113 w 521"/>
              <a:gd name="T25" fmla="*/ 2 h 592"/>
              <a:gd name="T26" fmla="*/ 290 w 521"/>
              <a:gd name="T27" fmla="*/ 1 h 592"/>
              <a:gd name="T28" fmla="*/ 423 w 521"/>
              <a:gd name="T29" fmla="*/ 16 h 592"/>
              <a:gd name="T30" fmla="*/ 429 w 521"/>
              <a:gd name="T31" fmla="*/ 30 h 592"/>
              <a:gd name="T32" fmla="*/ 520 w 521"/>
              <a:gd name="T33" fmla="*/ 50 h 592"/>
              <a:gd name="T34" fmla="*/ 502 w 521"/>
              <a:gd name="T35" fmla="*/ 146 h 592"/>
              <a:gd name="T36" fmla="*/ 409 w 521"/>
              <a:gd name="T37" fmla="*/ 264 h 592"/>
              <a:gd name="T38" fmla="*/ 370 w 521"/>
              <a:gd name="T39" fmla="*/ 290 h 592"/>
              <a:gd name="T40" fmla="*/ 309 w 521"/>
              <a:gd name="T41" fmla="*/ 380 h 592"/>
              <a:gd name="T42" fmla="*/ 313 w 521"/>
              <a:gd name="T43" fmla="*/ 424 h 592"/>
              <a:gd name="T44" fmla="*/ 390 w 521"/>
              <a:gd name="T45" fmla="*/ 444 h 592"/>
              <a:gd name="T46" fmla="*/ 395 w 521"/>
              <a:gd name="T47" fmla="*/ 548 h 592"/>
              <a:gd name="T48" fmla="*/ 421 w 521"/>
              <a:gd name="T49" fmla="*/ 561 h 592"/>
              <a:gd name="T50" fmla="*/ 407 w 521"/>
              <a:gd name="T51" fmla="*/ 592 h 592"/>
              <a:gd name="T52" fmla="*/ 260 w 521"/>
              <a:gd name="T53" fmla="*/ 592 h 592"/>
              <a:gd name="T54" fmla="*/ 405 w 521"/>
              <a:gd name="T55" fmla="*/ 227 h 592"/>
              <a:gd name="T56" fmla="*/ 471 w 521"/>
              <a:gd name="T57" fmla="*/ 135 h 592"/>
              <a:gd name="T58" fmla="*/ 480 w 521"/>
              <a:gd name="T59" fmla="*/ 63 h 592"/>
              <a:gd name="T60" fmla="*/ 423 w 521"/>
              <a:gd name="T61" fmla="*/ 68 h 592"/>
              <a:gd name="T62" fmla="*/ 417 w 521"/>
              <a:gd name="T63" fmla="*/ 178 h 592"/>
              <a:gd name="T64" fmla="*/ 117 w 521"/>
              <a:gd name="T65" fmla="*/ 229 h 592"/>
              <a:gd name="T66" fmla="*/ 98 w 521"/>
              <a:gd name="T67" fmla="*/ 136 h 592"/>
              <a:gd name="T68" fmla="*/ 92 w 521"/>
              <a:gd name="T69" fmla="*/ 63 h 592"/>
              <a:gd name="T70" fmla="*/ 34 w 521"/>
              <a:gd name="T71" fmla="*/ 68 h 592"/>
              <a:gd name="T72" fmla="*/ 89 w 521"/>
              <a:gd name="T73" fmla="*/ 204 h 592"/>
              <a:gd name="T74" fmla="*/ 260 w 521"/>
              <a:gd name="T75" fmla="*/ 478 h 592"/>
              <a:gd name="T76" fmla="*/ 217 w 521"/>
              <a:gd name="T77" fmla="*/ 491 h 592"/>
              <a:gd name="T78" fmla="*/ 290 w 521"/>
              <a:gd name="T79" fmla="*/ 506 h 592"/>
              <a:gd name="T80" fmla="*/ 290 w 521"/>
              <a:gd name="T81" fmla="*/ 478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21" h="592">
                <a:moveTo>
                  <a:pt x="260" y="592"/>
                </a:moveTo>
                <a:cubicBezTo>
                  <a:pt x="211" y="592"/>
                  <a:pt x="162" y="592"/>
                  <a:pt x="114" y="592"/>
                </a:cubicBezTo>
                <a:cubicBezTo>
                  <a:pt x="104" y="592"/>
                  <a:pt x="99" y="587"/>
                  <a:pt x="99" y="577"/>
                </a:cubicBezTo>
                <a:cubicBezTo>
                  <a:pt x="99" y="571"/>
                  <a:pt x="99" y="566"/>
                  <a:pt x="99" y="561"/>
                </a:cubicBezTo>
                <a:cubicBezTo>
                  <a:pt x="99" y="553"/>
                  <a:pt x="104" y="548"/>
                  <a:pt x="112" y="548"/>
                </a:cubicBezTo>
                <a:cubicBezTo>
                  <a:pt x="117" y="548"/>
                  <a:pt x="121" y="547"/>
                  <a:pt x="126" y="548"/>
                </a:cubicBezTo>
                <a:cubicBezTo>
                  <a:pt x="129" y="548"/>
                  <a:pt x="131" y="547"/>
                  <a:pt x="131" y="543"/>
                </a:cubicBezTo>
                <a:cubicBezTo>
                  <a:pt x="130" y="513"/>
                  <a:pt x="130" y="482"/>
                  <a:pt x="130" y="452"/>
                </a:cubicBezTo>
                <a:cubicBezTo>
                  <a:pt x="130" y="446"/>
                  <a:pt x="129" y="440"/>
                  <a:pt x="132" y="434"/>
                </a:cubicBezTo>
                <a:cubicBezTo>
                  <a:pt x="136" y="427"/>
                  <a:pt x="141" y="424"/>
                  <a:pt x="149" y="424"/>
                </a:cubicBezTo>
                <a:cubicBezTo>
                  <a:pt x="165" y="424"/>
                  <a:pt x="181" y="424"/>
                  <a:pt x="197" y="424"/>
                </a:cubicBezTo>
                <a:cubicBezTo>
                  <a:pt x="201" y="424"/>
                  <a:pt x="207" y="426"/>
                  <a:pt x="210" y="423"/>
                </a:cubicBezTo>
                <a:cubicBezTo>
                  <a:pt x="213" y="420"/>
                  <a:pt x="211" y="414"/>
                  <a:pt x="211" y="409"/>
                </a:cubicBezTo>
                <a:cubicBezTo>
                  <a:pt x="211" y="402"/>
                  <a:pt x="211" y="395"/>
                  <a:pt x="211" y="388"/>
                </a:cubicBezTo>
                <a:cubicBezTo>
                  <a:pt x="213" y="368"/>
                  <a:pt x="205" y="351"/>
                  <a:pt x="190" y="338"/>
                </a:cubicBezTo>
                <a:cubicBezTo>
                  <a:pt x="173" y="322"/>
                  <a:pt x="158" y="303"/>
                  <a:pt x="146" y="283"/>
                </a:cubicBezTo>
                <a:cubicBezTo>
                  <a:pt x="142" y="278"/>
                  <a:pt x="137" y="277"/>
                  <a:pt x="132" y="275"/>
                </a:cubicBezTo>
                <a:cubicBezTo>
                  <a:pt x="114" y="267"/>
                  <a:pt x="98" y="257"/>
                  <a:pt x="84" y="244"/>
                </a:cubicBezTo>
                <a:cubicBezTo>
                  <a:pt x="58" y="223"/>
                  <a:pt x="40" y="196"/>
                  <a:pt x="26" y="165"/>
                </a:cubicBezTo>
                <a:cubicBezTo>
                  <a:pt x="16" y="142"/>
                  <a:pt x="9" y="117"/>
                  <a:pt x="4" y="92"/>
                </a:cubicBezTo>
                <a:cubicBezTo>
                  <a:pt x="1" y="78"/>
                  <a:pt x="0" y="63"/>
                  <a:pt x="0" y="48"/>
                </a:cubicBezTo>
                <a:cubicBezTo>
                  <a:pt x="0" y="36"/>
                  <a:pt x="6" y="30"/>
                  <a:pt x="18" y="30"/>
                </a:cubicBezTo>
                <a:cubicBezTo>
                  <a:pt x="43" y="30"/>
                  <a:pt x="67" y="30"/>
                  <a:pt x="91" y="30"/>
                </a:cubicBezTo>
                <a:cubicBezTo>
                  <a:pt x="95" y="30"/>
                  <a:pt x="97" y="28"/>
                  <a:pt x="96" y="24"/>
                </a:cubicBezTo>
                <a:cubicBezTo>
                  <a:pt x="96" y="22"/>
                  <a:pt x="96" y="20"/>
                  <a:pt x="96" y="18"/>
                </a:cubicBezTo>
                <a:cubicBezTo>
                  <a:pt x="97" y="8"/>
                  <a:pt x="103" y="2"/>
                  <a:pt x="113" y="2"/>
                </a:cubicBezTo>
                <a:cubicBezTo>
                  <a:pt x="155" y="2"/>
                  <a:pt x="198" y="2"/>
                  <a:pt x="240" y="2"/>
                </a:cubicBezTo>
                <a:cubicBezTo>
                  <a:pt x="256" y="2"/>
                  <a:pt x="273" y="0"/>
                  <a:pt x="290" y="1"/>
                </a:cubicBezTo>
                <a:cubicBezTo>
                  <a:pt x="329" y="3"/>
                  <a:pt x="369" y="1"/>
                  <a:pt x="409" y="2"/>
                </a:cubicBezTo>
                <a:cubicBezTo>
                  <a:pt x="417" y="2"/>
                  <a:pt x="423" y="8"/>
                  <a:pt x="423" y="16"/>
                </a:cubicBezTo>
                <a:cubicBezTo>
                  <a:pt x="423" y="18"/>
                  <a:pt x="423" y="21"/>
                  <a:pt x="423" y="24"/>
                </a:cubicBezTo>
                <a:cubicBezTo>
                  <a:pt x="423" y="30"/>
                  <a:pt x="423" y="30"/>
                  <a:pt x="429" y="30"/>
                </a:cubicBezTo>
                <a:cubicBezTo>
                  <a:pt x="453" y="30"/>
                  <a:pt x="477" y="30"/>
                  <a:pt x="501" y="30"/>
                </a:cubicBezTo>
                <a:cubicBezTo>
                  <a:pt x="515" y="30"/>
                  <a:pt x="521" y="36"/>
                  <a:pt x="520" y="50"/>
                </a:cubicBezTo>
                <a:cubicBezTo>
                  <a:pt x="519" y="65"/>
                  <a:pt x="518" y="79"/>
                  <a:pt x="515" y="94"/>
                </a:cubicBezTo>
                <a:cubicBezTo>
                  <a:pt x="513" y="112"/>
                  <a:pt x="508" y="129"/>
                  <a:pt x="502" y="146"/>
                </a:cubicBezTo>
                <a:cubicBezTo>
                  <a:pt x="492" y="171"/>
                  <a:pt x="480" y="195"/>
                  <a:pt x="463" y="216"/>
                </a:cubicBezTo>
                <a:cubicBezTo>
                  <a:pt x="448" y="236"/>
                  <a:pt x="430" y="252"/>
                  <a:pt x="409" y="264"/>
                </a:cubicBezTo>
                <a:cubicBezTo>
                  <a:pt x="400" y="269"/>
                  <a:pt x="391" y="274"/>
                  <a:pt x="382" y="277"/>
                </a:cubicBezTo>
                <a:cubicBezTo>
                  <a:pt x="375" y="279"/>
                  <a:pt x="373" y="285"/>
                  <a:pt x="370" y="290"/>
                </a:cubicBezTo>
                <a:cubicBezTo>
                  <a:pt x="357" y="309"/>
                  <a:pt x="342" y="327"/>
                  <a:pt x="325" y="343"/>
                </a:cubicBezTo>
                <a:cubicBezTo>
                  <a:pt x="314" y="353"/>
                  <a:pt x="309" y="365"/>
                  <a:pt x="309" y="380"/>
                </a:cubicBezTo>
                <a:cubicBezTo>
                  <a:pt x="309" y="393"/>
                  <a:pt x="309" y="406"/>
                  <a:pt x="309" y="419"/>
                </a:cubicBezTo>
                <a:cubicBezTo>
                  <a:pt x="309" y="423"/>
                  <a:pt x="310" y="424"/>
                  <a:pt x="313" y="424"/>
                </a:cubicBezTo>
                <a:cubicBezTo>
                  <a:pt x="332" y="424"/>
                  <a:pt x="351" y="424"/>
                  <a:pt x="370" y="424"/>
                </a:cubicBezTo>
                <a:cubicBezTo>
                  <a:pt x="381" y="424"/>
                  <a:pt x="390" y="432"/>
                  <a:pt x="390" y="444"/>
                </a:cubicBezTo>
                <a:cubicBezTo>
                  <a:pt x="389" y="476"/>
                  <a:pt x="390" y="509"/>
                  <a:pt x="389" y="542"/>
                </a:cubicBezTo>
                <a:cubicBezTo>
                  <a:pt x="389" y="547"/>
                  <a:pt x="391" y="548"/>
                  <a:pt x="395" y="548"/>
                </a:cubicBezTo>
                <a:cubicBezTo>
                  <a:pt x="399" y="547"/>
                  <a:pt x="404" y="548"/>
                  <a:pt x="408" y="548"/>
                </a:cubicBezTo>
                <a:cubicBezTo>
                  <a:pt x="416" y="548"/>
                  <a:pt x="421" y="553"/>
                  <a:pt x="421" y="561"/>
                </a:cubicBezTo>
                <a:cubicBezTo>
                  <a:pt x="421" y="566"/>
                  <a:pt x="421" y="572"/>
                  <a:pt x="421" y="578"/>
                </a:cubicBezTo>
                <a:cubicBezTo>
                  <a:pt x="421" y="587"/>
                  <a:pt x="416" y="592"/>
                  <a:pt x="407" y="592"/>
                </a:cubicBezTo>
                <a:cubicBezTo>
                  <a:pt x="383" y="592"/>
                  <a:pt x="359" y="592"/>
                  <a:pt x="336" y="592"/>
                </a:cubicBezTo>
                <a:cubicBezTo>
                  <a:pt x="310" y="592"/>
                  <a:pt x="285" y="592"/>
                  <a:pt x="260" y="592"/>
                </a:cubicBezTo>
                <a:close/>
                <a:moveTo>
                  <a:pt x="402" y="228"/>
                </a:moveTo>
                <a:cubicBezTo>
                  <a:pt x="404" y="229"/>
                  <a:pt x="405" y="228"/>
                  <a:pt x="405" y="227"/>
                </a:cubicBezTo>
                <a:cubicBezTo>
                  <a:pt x="412" y="222"/>
                  <a:pt x="418" y="217"/>
                  <a:pt x="424" y="211"/>
                </a:cubicBezTo>
                <a:cubicBezTo>
                  <a:pt x="445" y="190"/>
                  <a:pt x="460" y="164"/>
                  <a:pt x="471" y="135"/>
                </a:cubicBezTo>
                <a:cubicBezTo>
                  <a:pt x="478" y="114"/>
                  <a:pt x="483" y="92"/>
                  <a:pt x="486" y="69"/>
                </a:cubicBezTo>
                <a:cubicBezTo>
                  <a:pt x="487" y="63"/>
                  <a:pt x="487" y="63"/>
                  <a:pt x="480" y="63"/>
                </a:cubicBezTo>
                <a:cubicBezTo>
                  <a:pt x="463" y="63"/>
                  <a:pt x="446" y="63"/>
                  <a:pt x="428" y="63"/>
                </a:cubicBezTo>
                <a:cubicBezTo>
                  <a:pt x="424" y="63"/>
                  <a:pt x="423" y="64"/>
                  <a:pt x="423" y="68"/>
                </a:cubicBezTo>
                <a:cubicBezTo>
                  <a:pt x="423" y="81"/>
                  <a:pt x="423" y="94"/>
                  <a:pt x="423" y="108"/>
                </a:cubicBezTo>
                <a:cubicBezTo>
                  <a:pt x="423" y="131"/>
                  <a:pt x="422" y="155"/>
                  <a:pt x="417" y="178"/>
                </a:cubicBezTo>
                <a:cubicBezTo>
                  <a:pt x="413" y="195"/>
                  <a:pt x="408" y="212"/>
                  <a:pt x="402" y="228"/>
                </a:cubicBezTo>
                <a:close/>
                <a:moveTo>
                  <a:pt x="117" y="229"/>
                </a:moveTo>
                <a:cubicBezTo>
                  <a:pt x="114" y="217"/>
                  <a:pt x="110" y="205"/>
                  <a:pt x="107" y="193"/>
                </a:cubicBezTo>
                <a:cubicBezTo>
                  <a:pt x="102" y="174"/>
                  <a:pt x="99" y="155"/>
                  <a:pt x="98" y="136"/>
                </a:cubicBezTo>
                <a:cubicBezTo>
                  <a:pt x="96" y="113"/>
                  <a:pt x="97" y="90"/>
                  <a:pt x="97" y="68"/>
                </a:cubicBezTo>
                <a:cubicBezTo>
                  <a:pt x="97" y="64"/>
                  <a:pt x="96" y="63"/>
                  <a:pt x="92" y="63"/>
                </a:cubicBezTo>
                <a:cubicBezTo>
                  <a:pt x="74" y="63"/>
                  <a:pt x="56" y="63"/>
                  <a:pt x="38" y="63"/>
                </a:cubicBezTo>
                <a:cubicBezTo>
                  <a:pt x="34" y="63"/>
                  <a:pt x="33" y="64"/>
                  <a:pt x="34" y="68"/>
                </a:cubicBezTo>
                <a:cubicBezTo>
                  <a:pt x="37" y="92"/>
                  <a:pt x="42" y="115"/>
                  <a:pt x="50" y="138"/>
                </a:cubicBezTo>
                <a:cubicBezTo>
                  <a:pt x="59" y="162"/>
                  <a:pt x="72" y="184"/>
                  <a:pt x="89" y="204"/>
                </a:cubicBezTo>
                <a:cubicBezTo>
                  <a:pt x="97" y="213"/>
                  <a:pt x="107" y="222"/>
                  <a:pt x="117" y="229"/>
                </a:cubicBezTo>
                <a:close/>
                <a:moveTo>
                  <a:pt x="260" y="478"/>
                </a:moveTo>
                <a:cubicBezTo>
                  <a:pt x="250" y="478"/>
                  <a:pt x="240" y="478"/>
                  <a:pt x="230" y="478"/>
                </a:cubicBezTo>
                <a:cubicBezTo>
                  <a:pt x="222" y="478"/>
                  <a:pt x="217" y="484"/>
                  <a:pt x="217" y="491"/>
                </a:cubicBezTo>
                <a:cubicBezTo>
                  <a:pt x="217" y="500"/>
                  <a:pt x="222" y="505"/>
                  <a:pt x="230" y="506"/>
                </a:cubicBezTo>
                <a:cubicBezTo>
                  <a:pt x="250" y="506"/>
                  <a:pt x="270" y="506"/>
                  <a:pt x="290" y="506"/>
                </a:cubicBezTo>
                <a:cubicBezTo>
                  <a:pt x="298" y="505"/>
                  <a:pt x="303" y="500"/>
                  <a:pt x="303" y="492"/>
                </a:cubicBezTo>
                <a:cubicBezTo>
                  <a:pt x="303" y="484"/>
                  <a:pt x="298" y="478"/>
                  <a:pt x="290" y="478"/>
                </a:cubicBezTo>
                <a:cubicBezTo>
                  <a:pt x="280" y="478"/>
                  <a:pt x="270" y="478"/>
                  <a:pt x="260" y="47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DE6E33-E295-C940-96A7-6AEBFABE7B3A}"/>
              </a:ext>
            </a:extLst>
          </p:cNvPr>
          <p:cNvSpPr/>
          <p:nvPr/>
        </p:nvSpPr>
        <p:spPr>
          <a:xfrm>
            <a:off x="4727491" y="2633417"/>
            <a:ext cx="12051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6.05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D755BE-327F-AB49-9E50-0126CD9F29DF}"/>
              </a:ext>
            </a:extLst>
          </p:cNvPr>
          <p:cNvSpPr/>
          <p:nvPr/>
        </p:nvSpPr>
        <p:spPr>
          <a:xfrm>
            <a:off x="2505290" y="3102547"/>
            <a:ext cx="1038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5.83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E5A0426-D295-FF40-855D-A0BB4DAA1F2B}"/>
              </a:ext>
            </a:extLst>
          </p:cNvPr>
          <p:cNvSpPr/>
          <p:nvPr/>
        </p:nvSpPr>
        <p:spPr>
          <a:xfrm>
            <a:off x="6958679" y="3285805"/>
            <a:ext cx="7245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6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84F82D-94BA-C148-AC02-63A7C398E26C}"/>
              </a:ext>
            </a:extLst>
          </p:cNvPr>
          <p:cNvSpPr txBox="1"/>
          <p:nvPr/>
        </p:nvSpPr>
        <p:spPr>
          <a:xfrm>
            <a:off x="4975376" y="4866948"/>
            <a:ext cx="70939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SVC</a:t>
            </a: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0209D9-4349-E24E-AA13-D33BAD6989A7}"/>
              </a:ext>
            </a:extLst>
          </p:cNvPr>
          <p:cNvSpPr txBox="1"/>
          <p:nvPr/>
        </p:nvSpPr>
        <p:spPr>
          <a:xfrm>
            <a:off x="2766803" y="4866948"/>
            <a:ext cx="37557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D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0CA7ED-2DDE-6C40-9353-BB1AB73B5A67}"/>
              </a:ext>
            </a:extLst>
          </p:cNvPr>
          <p:cNvSpPr txBox="1"/>
          <p:nvPr/>
        </p:nvSpPr>
        <p:spPr>
          <a:xfrm>
            <a:off x="6947438" y="4872563"/>
            <a:ext cx="70939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STM</a:t>
            </a:r>
            <a:endParaRPr lang="en-US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8" name="Table 7">
            <a:extLst>
              <a:ext uri="{FF2B5EF4-FFF2-40B4-BE49-F238E27FC236}">
                <a16:creationId xmlns:a16="http://schemas.microsoft.com/office/drawing/2014/main" id="{37D879CB-B2CB-7D4C-B0F0-9DF57E48E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601009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34F9038D-AC18-BE4B-A15C-DA6E2315B6EB}"/>
              </a:ext>
            </a:extLst>
          </p:cNvPr>
          <p:cNvSpPr/>
          <p:nvPr/>
        </p:nvSpPr>
        <p:spPr>
          <a:xfrm>
            <a:off x="7819696" y="6253064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B07AEE0-C2CE-2640-AC4F-E0B212EF12A6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8023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2">
            <a:extLst>
              <a:ext uri="{FF2B5EF4-FFF2-40B4-BE49-F238E27FC236}">
                <a16:creationId xmlns:a16="http://schemas.microsoft.com/office/drawing/2014/main" id="{8ED73D56-879E-4499-8FD9-EE38D2AD0A57}"/>
              </a:ext>
            </a:extLst>
          </p:cNvPr>
          <p:cNvSpPr/>
          <p:nvPr/>
        </p:nvSpPr>
        <p:spPr>
          <a:xfrm>
            <a:off x="1092372" y="1504186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Freeform 42">
            <a:extLst>
              <a:ext uri="{FF2B5EF4-FFF2-40B4-BE49-F238E27FC236}">
                <a16:creationId xmlns:a16="http://schemas.microsoft.com/office/drawing/2014/main" id="{7039FD3D-A5E8-487F-AA35-38F0D983B46B}"/>
              </a:ext>
            </a:extLst>
          </p:cNvPr>
          <p:cNvSpPr>
            <a:spLocks noEditPoints="1"/>
          </p:cNvSpPr>
          <p:nvPr/>
        </p:nvSpPr>
        <p:spPr bwMode="auto">
          <a:xfrm>
            <a:off x="841921" y="2048958"/>
            <a:ext cx="546780" cy="470647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67" y="53"/>
              </a:cxn>
              <a:cxn ang="0">
                <a:pos x="46" y="53"/>
              </a:cxn>
              <a:cxn ang="0">
                <a:pos x="48" y="60"/>
              </a:cxn>
              <a:cxn ang="0">
                <a:pos x="46" y="63"/>
              </a:cxn>
              <a:cxn ang="0">
                <a:pos x="26" y="63"/>
              </a:cxn>
              <a:cxn ang="0">
                <a:pos x="24" y="60"/>
              </a:cxn>
              <a:cxn ang="0">
                <a:pos x="26" y="53"/>
              </a:cxn>
              <a:cxn ang="0">
                <a:pos x="6" y="53"/>
              </a:cxn>
              <a:cxn ang="0">
                <a:pos x="0" y="47"/>
              </a:cxn>
              <a:cxn ang="0">
                <a:pos x="0" y="6"/>
              </a:cxn>
              <a:cxn ang="0">
                <a:pos x="6" y="0"/>
              </a:cxn>
              <a:cxn ang="0">
                <a:pos x="67" y="0"/>
              </a:cxn>
              <a:cxn ang="0">
                <a:pos x="73" y="6"/>
              </a:cxn>
              <a:cxn ang="0">
                <a:pos x="73" y="47"/>
              </a:cxn>
              <a:cxn ang="0">
                <a:pos x="68" y="6"/>
              </a:cxn>
              <a:cxn ang="0">
                <a:pos x="67" y="5"/>
              </a:cxn>
              <a:cxn ang="0">
                <a:pos x="6" y="5"/>
              </a:cxn>
              <a:cxn ang="0">
                <a:pos x="5" y="6"/>
              </a:cxn>
              <a:cxn ang="0">
                <a:pos x="5" y="37"/>
              </a:cxn>
              <a:cxn ang="0">
                <a:pos x="6" y="39"/>
              </a:cxn>
              <a:cxn ang="0">
                <a:pos x="67" y="39"/>
              </a:cxn>
              <a:cxn ang="0">
                <a:pos x="68" y="37"/>
              </a:cxn>
              <a:cxn ang="0">
                <a:pos x="68" y="6"/>
              </a:cxn>
            </a:cxnLst>
            <a:rect l="0" t="0" r="r" b="b"/>
            <a:pathLst>
              <a:path w="73" h="63">
                <a:moveTo>
                  <a:pt x="73" y="47"/>
                </a:moveTo>
                <a:cubicBezTo>
                  <a:pt x="73" y="50"/>
                  <a:pt x="70" y="53"/>
                  <a:pt x="67" y="53"/>
                </a:cubicBezTo>
                <a:cubicBezTo>
                  <a:pt x="46" y="53"/>
                  <a:pt x="46" y="53"/>
                  <a:pt x="46" y="53"/>
                </a:cubicBezTo>
                <a:cubicBezTo>
                  <a:pt x="46" y="56"/>
                  <a:pt x="48" y="59"/>
                  <a:pt x="48" y="60"/>
                </a:cubicBezTo>
                <a:cubicBezTo>
                  <a:pt x="48" y="62"/>
                  <a:pt x="47" y="63"/>
                  <a:pt x="4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5" y="63"/>
                  <a:pt x="24" y="62"/>
                  <a:pt x="24" y="60"/>
                </a:cubicBezTo>
                <a:cubicBezTo>
                  <a:pt x="24" y="59"/>
                  <a:pt x="26" y="56"/>
                  <a:pt x="26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2" y="53"/>
                  <a:pt x="0" y="50"/>
                  <a:pt x="0" y="47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2" y="0"/>
                  <a:pt x="6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0" y="0"/>
                  <a:pt x="73" y="2"/>
                  <a:pt x="73" y="6"/>
                </a:cubicBezTo>
                <a:lnTo>
                  <a:pt x="73" y="47"/>
                </a:lnTo>
                <a:close/>
                <a:moveTo>
                  <a:pt x="68" y="6"/>
                </a:moveTo>
                <a:cubicBezTo>
                  <a:pt x="68" y="5"/>
                  <a:pt x="67" y="5"/>
                  <a:pt x="67" y="5"/>
                </a:cubicBezTo>
                <a:cubicBezTo>
                  <a:pt x="6" y="5"/>
                  <a:pt x="6" y="5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5" y="37"/>
                  <a:pt x="5" y="37"/>
                  <a:pt x="5" y="37"/>
                </a:cubicBezTo>
                <a:cubicBezTo>
                  <a:pt x="5" y="38"/>
                  <a:pt x="5" y="39"/>
                  <a:pt x="6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8" y="38"/>
                  <a:pt x="68" y="37"/>
                </a:cubicBezTo>
                <a:lnTo>
                  <a:pt x="68" y="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8254FC-5660-4BD0-BFC3-723877C3628F}"/>
              </a:ext>
            </a:extLst>
          </p:cNvPr>
          <p:cNvSpPr txBox="1"/>
          <p:nvPr/>
        </p:nvSpPr>
        <p:spPr>
          <a:xfrm>
            <a:off x="1770589" y="1691327"/>
            <a:ext cx="2885205" cy="99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duced Miscategorization</a:t>
            </a:r>
          </a:p>
          <a:p>
            <a:pPr algn="ctr"/>
            <a:r>
              <a:rPr lang="en-US" sz="16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 defTabSz="990570">
              <a:spcBef>
                <a:spcPct val="20000"/>
              </a:spcBef>
              <a:defRPr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umers find a greater number of ads in the correct category. </a:t>
            </a:r>
          </a:p>
        </p:txBody>
      </p:sp>
      <p:sp>
        <p:nvSpPr>
          <p:cNvPr id="7" name="Rounded Rectangle 20">
            <a:extLst>
              <a:ext uri="{FF2B5EF4-FFF2-40B4-BE49-F238E27FC236}">
                <a16:creationId xmlns:a16="http://schemas.microsoft.com/office/drawing/2014/main" id="{A0B8E290-F35D-4FF1-81F2-D50B6B8EBC5B}"/>
              </a:ext>
            </a:extLst>
          </p:cNvPr>
          <p:cNvSpPr/>
          <p:nvPr/>
        </p:nvSpPr>
        <p:spPr>
          <a:xfrm>
            <a:off x="4867857" y="1504186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rgbClr val="FEC0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CF124C-1965-484F-9631-1ECE5A5F9E86}"/>
              </a:ext>
            </a:extLst>
          </p:cNvPr>
          <p:cNvSpPr txBox="1"/>
          <p:nvPr/>
        </p:nvSpPr>
        <p:spPr>
          <a:xfrm>
            <a:off x="4962463" y="1691327"/>
            <a:ext cx="2795751" cy="99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duced Manual Work</a:t>
            </a:r>
          </a:p>
          <a:p>
            <a:pPr algn="ctr"/>
            <a:endParaRPr lang="en-US" sz="1600" b="1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905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 analytics model saves the manual tagging work to be done by craigslist.</a:t>
            </a:r>
          </a:p>
        </p:txBody>
      </p:sp>
      <p:sp>
        <p:nvSpPr>
          <p:cNvPr id="9" name="Sev02">
            <a:extLst>
              <a:ext uri="{FF2B5EF4-FFF2-40B4-BE49-F238E27FC236}">
                <a16:creationId xmlns:a16="http://schemas.microsoft.com/office/drawing/2014/main" id="{D36C12F6-4C3A-4838-886C-DCEF019A0239}"/>
              </a:ext>
            </a:extLst>
          </p:cNvPr>
          <p:cNvSpPr/>
          <p:nvPr/>
        </p:nvSpPr>
        <p:spPr>
          <a:xfrm>
            <a:off x="7857059" y="1629001"/>
            <a:ext cx="1310559" cy="1310559"/>
          </a:xfrm>
          <a:prstGeom prst="roundRect">
            <a:avLst/>
          </a:prstGeom>
          <a:solidFill>
            <a:srgbClr val="FEC003"/>
          </a:solidFill>
          <a:ln>
            <a:solidFill>
              <a:srgbClr val="A67D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500">
              <a:solidFill>
                <a:schemeClr val="accent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reeform 86">
            <a:extLst>
              <a:ext uri="{FF2B5EF4-FFF2-40B4-BE49-F238E27FC236}">
                <a16:creationId xmlns:a16="http://schemas.microsoft.com/office/drawing/2014/main" id="{3C423B75-9009-44A6-BD47-2D2FF1915E02}"/>
              </a:ext>
            </a:extLst>
          </p:cNvPr>
          <p:cNvSpPr>
            <a:spLocks noEditPoints="1"/>
          </p:cNvSpPr>
          <p:nvPr/>
        </p:nvSpPr>
        <p:spPr bwMode="auto">
          <a:xfrm>
            <a:off x="8325114" y="1969273"/>
            <a:ext cx="374446" cy="630016"/>
          </a:xfrm>
          <a:custGeom>
            <a:avLst/>
            <a:gdLst/>
            <a:ahLst/>
            <a:cxnLst>
              <a:cxn ang="0">
                <a:pos x="29" y="44"/>
              </a:cxn>
              <a:cxn ang="0">
                <a:pos x="24" y="49"/>
              </a:cxn>
              <a:cxn ang="0">
                <a:pos x="5" y="49"/>
              </a:cxn>
              <a:cxn ang="0">
                <a:pos x="0" y="44"/>
              </a:cxn>
              <a:cxn ang="0">
                <a:pos x="0" y="5"/>
              </a:cxn>
              <a:cxn ang="0">
                <a:pos x="5" y="0"/>
              </a:cxn>
              <a:cxn ang="0">
                <a:pos x="24" y="0"/>
              </a:cxn>
              <a:cxn ang="0">
                <a:pos x="29" y="5"/>
              </a:cxn>
              <a:cxn ang="0">
                <a:pos x="29" y="44"/>
              </a:cxn>
              <a:cxn ang="0">
                <a:pos x="25" y="11"/>
              </a:cxn>
              <a:cxn ang="0">
                <a:pos x="24" y="10"/>
              </a:cxn>
              <a:cxn ang="0">
                <a:pos x="5" y="10"/>
              </a:cxn>
              <a:cxn ang="0">
                <a:pos x="3" y="11"/>
              </a:cxn>
              <a:cxn ang="0">
                <a:pos x="3" y="38"/>
              </a:cxn>
              <a:cxn ang="0">
                <a:pos x="5" y="39"/>
              </a:cxn>
              <a:cxn ang="0">
                <a:pos x="24" y="39"/>
              </a:cxn>
              <a:cxn ang="0">
                <a:pos x="25" y="38"/>
              </a:cxn>
              <a:cxn ang="0">
                <a:pos x="25" y="11"/>
              </a:cxn>
              <a:cxn ang="0">
                <a:pos x="17" y="5"/>
              </a:cxn>
              <a:cxn ang="0">
                <a:pos x="11" y="5"/>
              </a:cxn>
              <a:cxn ang="0">
                <a:pos x="11" y="6"/>
              </a:cxn>
              <a:cxn ang="0">
                <a:pos x="11" y="6"/>
              </a:cxn>
              <a:cxn ang="0">
                <a:pos x="17" y="6"/>
              </a:cxn>
              <a:cxn ang="0">
                <a:pos x="18" y="6"/>
              </a:cxn>
              <a:cxn ang="0">
                <a:pos x="17" y="5"/>
              </a:cxn>
              <a:cxn ang="0">
                <a:pos x="14" y="41"/>
              </a:cxn>
              <a:cxn ang="0">
                <a:pos x="11" y="44"/>
              </a:cxn>
              <a:cxn ang="0">
                <a:pos x="14" y="47"/>
              </a:cxn>
              <a:cxn ang="0">
                <a:pos x="17" y="44"/>
              </a:cxn>
              <a:cxn ang="0">
                <a:pos x="14" y="41"/>
              </a:cxn>
            </a:cxnLst>
            <a:rect l="0" t="0" r="r" b="b"/>
            <a:pathLst>
              <a:path w="29" h="49">
                <a:moveTo>
                  <a:pt x="29" y="44"/>
                </a:moveTo>
                <a:cubicBezTo>
                  <a:pt x="29" y="47"/>
                  <a:pt x="27" y="49"/>
                  <a:pt x="24" y="49"/>
                </a:cubicBezTo>
                <a:cubicBezTo>
                  <a:pt x="5" y="49"/>
                  <a:pt x="5" y="49"/>
                  <a:pt x="5" y="49"/>
                </a:cubicBezTo>
                <a:cubicBezTo>
                  <a:pt x="2" y="49"/>
                  <a:pt x="0" y="47"/>
                  <a:pt x="0" y="44"/>
                </a:cubicBezTo>
                <a:cubicBezTo>
                  <a:pt x="0" y="5"/>
                  <a:pt x="0" y="5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7" y="0"/>
                  <a:pt x="29" y="3"/>
                  <a:pt x="29" y="5"/>
                </a:cubicBezTo>
                <a:lnTo>
                  <a:pt x="29" y="44"/>
                </a:lnTo>
                <a:close/>
                <a:moveTo>
                  <a:pt x="25" y="11"/>
                </a:moveTo>
                <a:cubicBezTo>
                  <a:pt x="25" y="11"/>
                  <a:pt x="25" y="10"/>
                  <a:pt x="24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4" y="10"/>
                  <a:pt x="3" y="11"/>
                  <a:pt x="3" y="11"/>
                </a:cubicBezTo>
                <a:cubicBezTo>
                  <a:pt x="3" y="38"/>
                  <a:pt x="3" y="38"/>
                  <a:pt x="3" y="38"/>
                </a:cubicBezTo>
                <a:cubicBezTo>
                  <a:pt x="3" y="39"/>
                  <a:pt x="4" y="39"/>
                  <a:pt x="5" y="39"/>
                </a:cubicBezTo>
                <a:cubicBezTo>
                  <a:pt x="24" y="39"/>
                  <a:pt x="24" y="39"/>
                  <a:pt x="24" y="39"/>
                </a:cubicBezTo>
                <a:cubicBezTo>
                  <a:pt x="25" y="39"/>
                  <a:pt x="25" y="39"/>
                  <a:pt x="25" y="38"/>
                </a:cubicBezTo>
                <a:lnTo>
                  <a:pt x="25" y="11"/>
                </a:lnTo>
                <a:close/>
                <a:moveTo>
                  <a:pt x="17" y="5"/>
                </a:moveTo>
                <a:cubicBezTo>
                  <a:pt x="11" y="5"/>
                  <a:pt x="11" y="5"/>
                  <a:pt x="11" y="5"/>
                </a:cubicBezTo>
                <a:cubicBezTo>
                  <a:pt x="11" y="5"/>
                  <a:pt x="11" y="6"/>
                  <a:pt x="11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7" y="6"/>
                  <a:pt x="17" y="6"/>
                  <a:pt x="17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8" y="6"/>
                  <a:pt x="18" y="5"/>
                  <a:pt x="17" y="5"/>
                </a:cubicBezTo>
                <a:close/>
                <a:moveTo>
                  <a:pt x="14" y="41"/>
                </a:moveTo>
                <a:cubicBezTo>
                  <a:pt x="13" y="41"/>
                  <a:pt x="11" y="42"/>
                  <a:pt x="11" y="44"/>
                </a:cubicBezTo>
                <a:cubicBezTo>
                  <a:pt x="11" y="46"/>
                  <a:pt x="13" y="47"/>
                  <a:pt x="14" y="47"/>
                </a:cubicBezTo>
                <a:cubicBezTo>
                  <a:pt x="16" y="47"/>
                  <a:pt x="17" y="46"/>
                  <a:pt x="17" y="44"/>
                </a:cubicBezTo>
                <a:cubicBezTo>
                  <a:pt x="17" y="42"/>
                  <a:pt x="16" y="41"/>
                  <a:pt x="14" y="4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ounded Rectangle 27">
            <a:extLst>
              <a:ext uri="{FF2B5EF4-FFF2-40B4-BE49-F238E27FC236}">
                <a16:creationId xmlns:a16="http://schemas.microsoft.com/office/drawing/2014/main" id="{EC0D61A3-BCB6-41D3-AEAF-BF68D3C65CF4}"/>
              </a:ext>
            </a:extLst>
          </p:cNvPr>
          <p:cNvSpPr/>
          <p:nvPr/>
        </p:nvSpPr>
        <p:spPr>
          <a:xfrm>
            <a:off x="1092372" y="3386841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rgbClr val="FEC0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5DCFF4-082F-4973-9DDA-29ABC94E3FCC}"/>
              </a:ext>
            </a:extLst>
          </p:cNvPr>
          <p:cNvSpPr txBox="1"/>
          <p:nvPr/>
        </p:nvSpPr>
        <p:spPr>
          <a:xfrm>
            <a:off x="1822727" y="3666798"/>
            <a:ext cx="2795751" cy="99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tter User Experience</a:t>
            </a:r>
          </a:p>
          <a:p>
            <a:pPr algn="ctr"/>
            <a:endParaRPr lang="en-US" sz="1600" b="1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90570">
              <a:spcBef>
                <a:spcPct val="20000"/>
              </a:spcBef>
              <a:defRPr/>
            </a:pP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 find only correctly tagged advertisement in the categories.</a:t>
            </a:r>
            <a:endParaRPr lang="en-US" sz="120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32">
            <a:extLst>
              <a:ext uri="{FF2B5EF4-FFF2-40B4-BE49-F238E27FC236}">
                <a16:creationId xmlns:a16="http://schemas.microsoft.com/office/drawing/2014/main" id="{2A6B3DEF-9423-4B87-ABDD-F233ACA2E7BD}"/>
              </a:ext>
            </a:extLst>
          </p:cNvPr>
          <p:cNvSpPr/>
          <p:nvPr/>
        </p:nvSpPr>
        <p:spPr>
          <a:xfrm>
            <a:off x="4867857" y="3386841"/>
            <a:ext cx="3619640" cy="1560189"/>
          </a:xfrm>
          <a:prstGeom prst="roundRect">
            <a:avLst>
              <a:gd name="adj" fmla="val 5551"/>
            </a:avLst>
          </a:prstGeom>
          <a:noFill/>
          <a:ln>
            <a:solidFill>
              <a:srgbClr val="0148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38AA43-627B-4FBC-90C0-E1816D402F5F}"/>
              </a:ext>
            </a:extLst>
          </p:cNvPr>
          <p:cNvSpPr txBox="1"/>
          <p:nvPr/>
        </p:nvSpPr>
        <p:spPr>
          <a:xfrm>
            <a:off x="4866788" y="3700753"/>
            <a:ext cx="3023241" cy="95410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1600" b="1" dirty="0">
                <a:solidFill>
                  <a:srgbClr val="014884"/>
                </a:solidFill>
                <a:latin typeface="Segoe UI"/>
                <a:cs typeface="Segoe UI"/>
              </a:rPr>
              <a:t>Customer Retention</a:t>
            </a: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90570">
              <a:defRPr/>
            </a:pPr>
            <a:endParaRPr lang="en-US" sz="1600" b="1" dirty="0">
              <a:solidFill>
                <a:srgbClr val="014884"/>
              </a:solidFill>
              <a:latin typeface="Segoe UI"/>
              <a:cs typeface="Segoe UI"/>
            </a:endParaRPr>
          </a:p>
          <a:p>
            <a:pPr algn="ctr" defTabSz="990570">
              <a:defRPr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/>
                <a:cs typeface="Segoe UI"/>
              </a:rPr>
              <a:t>Since, we can cater to our customer, don’t switch to other platforms.</a:t>
            </a: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Segoe UI"/>
              <a:cs typeface="Segoe UI"/>
            </a:endParaRPr>
          </a:p>
        </p:txBody>
      </p:sp>
      <p:sp>
        <p:nvSpPr>
          <p:cNvPr id="15" name="Sev04">
            <a:extLst>
              <a:ext uri="{FF2B5EF4-FFF2-40B4-BE49-F238E27FC236}">
                <a16:creationId xmlns:a16="http://schemas.microsoft.com/office/drawing/2014/main" id="{6F43A593-A096-4C96-BF57-70F69ADC5157}"/>
              </a:ext>
            </a:extLst>
          </p:cNvPr>
          <p:cNvSpPr/>
          <p:nvPr/>
        </p:nvSpPr>
        <p:spPr>
          <a:xfrm>
            <a:off x="7860206" y="3507472"/>
            <a:ext cx="1310559" cy="1310559"/>
          </a:xfrm>
          <a:prstGeom prst="roundRect">
            <a:avLst/>
          </a:prstGeom>
          <a:solidFill>
            <a:srgbClr val="014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333">
              <a:solidFill>
                <a:schemeClr val="accent4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Freeform 52">
            <a:extLst>
              <a:ext uri="{FF2B5EF4-FFF2-40B4-BE49-F238E27FC236}">
                <a16:creationId xmlns:a16="http://schemas.microsoft.com/office/drawing/2014/main" id="{0BF27029-3270-4A7E-B14B-94DB5D01D4F0}"/>
              </a:ext>
            </a:extLst>
          </p:cNvPr>
          <p:cNvSpPr>
            <a:spLocks noEditPoints="1"/>
          </p:cNvSpPr>
          <p:nvPr/>
        </p:nvSpPr>
        <p:spPr bwMode="auto">
          <a:xfrm>
            <a:off x="8264589" y="3892822"/>
            <a:ext cx="501792" cy="539859"/>
          </a:xfrm>
          <a:custGeom>
            <a:avLst/>
            <a:gdLst/>
            <a:ahLst/>
            <a:cxnLst>
              <a:cxn ang="0">
                <a:pos x="67" y="67"/>
              </a:cxn>
              <a:cxn ang="0">
                <a:pos x="61" y="72"/>
              </a:cxn>
              <a:cxn ang="0">
                <a:pos x="5" y="72"/>
              </a:cxn>
              <a:cxn ang="0">
                <a:pos x="0" y="67"/>
              </a:cxn>
              <a:cxn ang="0">
                <a:pos x="0" y="16"/>
              </a:cxn>
              <a:cxn ang="0">
                <a:pos x="5" y="11"/>
              </a:cxn>
              <a:cxn ang="0">
                <a:pos x="10" y="11"/>
              </a:cxn>
              <a:cxn ang="0">
                <a:pos x="10" y="7"/>
              </a:cxn>
              <a:cxn ang="0">
                <a:pos x="16" y="0"/>
              </a:cxn>
              <a:cxn ang="0">
                <a:pos x="19" y="0"/>
              </a:cxn>
              <a:cxn ang="0">
                <a:pos x="25" y="7"/>
              </a:cxn>
              <a:cxn ang="0">
                <a:pos x="25" y="11"/>
              </a:cxn>
              <a:cxn ang="0">
                <a:pos x="41" y="11"/>
              </a:cxn>
              <a:cxn ang="0">
                <a:pos x="41" y="7"/>
              </a:cxn>
              <a:cxn ang="0">
                <a:pos x="47" y="0"/>
              </a:cxn>
              <a:cxn ang="0">
                <a:pos x="50" y="0"/>
              </a:cxn>
              <a:cxn ang="0">
                <a:pos x="56" y="7"/>
              </a:cxn>
              <a:cxn ang="0">
                <a:pos x="56" y="11"/>
              </a:cxn>
              <a:cxn ang="0">
                <a:pos x="61" y="11"/>
              </a:cxn>
              <a:cxn ang="0">
                <a:pos x="67" y="16"/>
              </a:cxn>
              <a:cxn ang="0">
                <a:pos x="67" y="67"/>
              </a:cxn>
              <a:cxn ang="0">
                <a:pos x="61" y="67"/>
              </a:cxn>
              <a:cxn ang="0">
                <a:pos x="61" y="26"/>
              </a:cxn>
              <a:cxn ang="0">
                <a:pos x="5" y="26"/>
              </a:cxn>
              <a:cxn ang="0">
                <a:pos x="5" y="67"/>
              </a:cxn>
              <a:cxn ang="0">
                <a:pos x="61" y="67"/>
              </a:cxn>
              <a:cxn ang="0">
                <a:pos x="20" y="7"/>
              </a:cxn>
              <a:cxn ang="0">
                <a:pos x="19" y="5"/>
              </a:cxn>
              <a:cxn ang="0">
                <a:pos x="16" y="5"/>
              </a:cxn>
              <a:cxn ang="0">
                <a:pos x="15" y="7"/>
              </a:cxn>
              <a:cxn ang="0">
                <a:pos x="15" y="18"/>
              </a:cxn>
              <a:cxn ang="0">
                <a:pos x="16" y="20"/>
              </a:cxn>
              <a:cxn ang="0">
                <a:pos x="19" y="20"/>
              </a:cxn>
              <a:cxn ang="0">
                <a:pos x="20" y="18"/>
              </a:cxn>
              <a:cxn ang="0">
                <a:pos x="20" y="7"/>
              </a:cxn>
              <a:cxn ang="0">
                <a:pos x="51" y="7"/>
              </a:cxn>
              <a:cxn ang="0">
                <a:pos x="50" y="5"/>
              </a:cxn>
              <a:cxn ang="0">
                <a:pos x="47" y="5"/>
              </a:cxn>
              <a:cxn ang="0">
                <a:pos x="46" y="7"/>
              </a:cxn>
              <a:cxn ang="0">
                <a:pos x="46" y="18"/>
              </a:cxn>
              <a:cxn ang="0">
                <a:pos x="47" y="20"/>
              </a:cxn>
              <a:cxn ang="0">
                <a:pos x="50" y="20"/>
              </a:cxn>
              <a:cxn ang="0">
                <a:pos x="51" y="18"/>
              </a:cxn>
              <a:cxn ang="0">
                <a:pos x="51" y="7"/>
              </a:cxn>
            </a:cxnLst>
            <a:rect l="0" t="0" r="r" b="b"/>
            <a:pathLst>
              <a:path w="67" h="72">
                <a:moveTo>
                  <a:pt x="67" y="67"/>
                </a:moveTo>
                <a:cubicBezTo>
                  <a:pt x="67" y="70"/>
                  <a:pt x="64" y="72"/>
                  <a:pt x="61" y="72"/>
                </a:cubicBezTo>
                <a:cubicBezTo>
                  <a:pt x="5" y="72"/>
                  <a:pt x="5" y="72"/>
                  <a:pt x="5" y="72"/>
                </a:cubicBezTo>
                <a:cubicBezTo>
                  <a:pt x="2" y="72"/>
                  <a:pt x="0" y="70"/>
                  <a:pt x="0" y="67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3"/>
                  <a:pt x="2" y="11"/>
                  <a:pt x="5" y="11"/>
                </a:cubicBezTo>
                <a:cubicBezTo>
                  <a:pt x="10" y="11"/>
                  <a:pt x="10" y="11"/>
                  <a:pt x="10" y="11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3"/>
                  <a:pt x="13" y="0"/>
                  <a:pt x="16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23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41" y="11"/>
                  <a:pt x="41" y="11"/>
                  <a:pt x="41" y="11"/>
                </a:cubicBezTo>
                <a:cubicBezTo>
                  <a:pt x="41" y="7"/>
                  <a:pt x="41" y="7"/>
                  <a:pt x="41" y="7"/>
                </a:cubicBezTo>
                <a:cubicBezTo>
                  <a:pt x="41" y="3"/>
                  <a:pt x="44" y="0"/>
                  <a:pt x="47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3" y="0"/>
                  <a:pt x="56" y="3"/>
                  <a:pt x="56" y="7"/>
                </a:cubicBezTo>
                <a:cubicBezTo>
                  <a:pt x="56" y="11"/>
                  <a:pt x="56" y="11"/>
                  <a:pt x="56" y="11"/>
                </a:cubicBezTo>
                <a:cubicBezTo>
                  <a:pt x="61" y="11"/>
                  <a:pt x="61" y="11"/>
                  <a:pt x="61" y="11"/>
                </a:cubicBezTo>
                <a:cubicBezTo>
                  <a:pt x="64" y="11"/>
                  <a:pt x="67" y="13"/>
                  <a:pt x="67" y="16"/>
                </a:cubicBezTo>
                <a:lnTo>
                  <a:pt x="67" y="67"/>
                </a:lnTo>
                <a:close/>
                <a:moveTo>
                  <a:pt x="61" y="67"/>
                </a:moveTo>
                <a:cubicBezTo>
                  <a:pt x="61" y="26"/>
                  <a:pt x="61" y="26"/>
                  <a:pt x="61" y="26"/>
                </a:cubicBezTo>
                <a:cubicBezTo>
                  <a:pt x="5" y="26"/>
                  <a:pt x="5" y="26"/>
                  <a:pt x="5" y="26"/>
                </a:cubicBezTo>
                <a:cubicBezTo>
                  <a:pt x="5" y="67"/>
                  <a:pt x="5" y="67"/>
                  <a:pt x="5" y="67"/>
                </a:cubicBezTo>
                <a:lnTo>
                  <a:pt x="61" y="67"/>
                </a:lnTo>
                <a:close/>
                <a:moveTo>
                  <a:pt x="20" y="7"/>
                </a:moveTo>
                <a:cubicBezTo>
                  <a:pt x="20" y="6"/>
                  <a:pt x="20" y="5"/>
                  <a:pt x="19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6"/>
                  <a:pt x="15" y="7"/>
                </a:cubicBezTo>
                <a:cubicBezTo>
                  <a:pt x="15" y="18"/>
                  <a:pt x="15" y="18"/>
                  <a:pt x="15" y="18"/>
                </a:cubicBezTo>
                <a:cubicBezTo>
                  <a:pt x="15" y="19"/>
                  <a:pt x="16" y="20"/>
                  <a:pt x="16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20" y="20"/>
                  <a:pt x="20" y="19"/>
                  <a:pt x="20" y="18"/>
                </a:cubicBezTo>
                <a:lnTo>
                  <a:pt x="20" y="7"/>
                </a:lnTo>
                <a:close/>
                <a:moveTo>
                  <a:pt x="51" y="7"/>
                </a:moveTo>
                <a:cubicBezTo>
                  <a:pt x="51" y="6"/>
                  <a:pt x="51" y="5"/>
                  <a:pt x="50" y="5"/>
                </a:cubicBezTo>
                <a:cubicBezTo>
                  <a:pt x="47" y="5"/>
                  <a:pt x="47" y="5"/>
                  <a:pt x="47" y="5"/>
                </a:cubicBezTo>
                <a:cubicBezTo>
                  <a:pt x="47" y="5"/>
                  <a:pt x="46" y="6"/>
                  <a:pt x="46" y="7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9"/>
                  <a:pt x="47" y="20"/>
                  <a:pt x="47" y="20"/>
                </a:cubicBezTo>
                <a:cubicBezTo>
                  <a:pt x="50" y="20"/>
                  <a:pt x="50" y="20"/>
                  <a:pt x="50" y="20"/>
                </a:cubicBezTo>
                <a:cubicBezTo>
                  <a:pt x="51" y="20"/>
                  <a:pt x="51" y="19"/>
                  <a:pt x="51" y="18"/>
                </a:cubicBezTo>
                <a:lnTo>
                  <a:pt x="51" y="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Freeform 178">
            <a:extLst>
              <a:ext uri="{FF2B5EF4-FFF2-40B4-BE49-F238E27FC236}">
                <a16:creationId xmlns:a16="http://schemas.microsoft.com/office/drawing/2014/main" id="{2E50546F-AA9F-4F3F-98D1-719730102F03}"/>
              </a:ext>
            </a:extLst>
          </p:cNvPr>
          <p:cNvSpPr>
            <a:spLocks noEditPoints="1"/>
          </p:cNvSpPr>
          <p:nvPr/>
        </p:nvSpPr>
        <p:spPr bwMode="auto">
          <a:xfrm>
            <a:off x="841921" y="3977696"/>
            <a:ext cx="546780" cy="411816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792A39B0-A9C6-4B66-B4A7-520F953950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060681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7DE5FD1D-A1D5-4A83-BE1B-32832E54FC29}"/>
              </a:ext>
            </a:extLst>
          </p:cNvPr>
          <p:cNvSpPr/>
          <p:nvPr/>
        </p:nvSpPr>
        <p:spPr>
          <a:xfrm>
            <a:off x="5890970" y="6244691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091946-A6ED-4D3B-9DEC-6849564B7A27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Sev01">
            <a:extLst>
              <a:ext uri="{FF2B5EF4-FFF2-40B4-BE49-F238E27FC236}">
                <a16:creationId xmlns:a16="http://schemas.microsoft.com/office/drawing/2014/main" id="{DF59D82C-4E67-4165-9AEF-E6DF2533411B}"/>
              </a:ext>
            </a:extLst>
          </p:cNvPr>
          <p:cNvSpPr/>
          <p:nvPr/>
        </p:nvSpPr>
        <p:spPr>
          <a:xfrm>
            <a:off x="512168" y="1653947"/>
            <a:ext cx="1310559" cy="1310559"/>
          </a:xfrm>
          <a:prstGeom prst="roundRect">
            <a:avLst/>
          </a:prstGeom>
          <a:solidFill>
            <a:srgbClr val="0148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333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Freeform 42">
            <a:extLst>
              <a:ext uri="{FF2B5EF4-FFF2-40B4-BE49-F238E27FC236}">
                <a16:creationId xmlns:a16="http://schemas.microsoft.com/office/drawing/2014/main" id="{46F74ABC-B26E-491B-80AE-A2D862AB5608}"/>
              </a:ext>
            </a:extLst>
          </p:cNvPr>
          <p:cNvSpPr>
            <a:spLocks noEditPoints="1"/>
          </p:cNvSpPr>
          <p:nvPr/>
        </p:nvSpPr>
        <p:spPr bwMode="auto">
          <a:xfrm>
            <a:off x="894056" y="2073903"/>
            <a:ext cx="546780" cy="470647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67" y="53"/>
              </a:cxn>
              <a:cxn ang="0">
                <a:pos x="46" y="53"/>
              </a:cxn>
              <a:cxn ang="0">
                <a:pos x="48" y="60"/>
              </a:cxn>
              <a:cxn ang="0">
                <a:pos x="46" y="63"/>
              </a:cxn>
              <a:cxn ang="0">
                <a:pos x="26" y="63"/>
              </a:cxn>
              <a:cxn ang="0">
                <a:pos x="24" y="60"/>
              </a:cxn>
              <a:cxn ang="0">
                <a:pos x="26" y="53"/>
              </a:cxn>
              <a:cxn ang="0">
                <a:pos x="6" y="53"/>
              </a:cxn>
              <a:cxn ang="0">
                <a:pos x="0" y="47"/>
              </a:cxn>
              <a:cxn ang="0">
                <a:pos x="0" y="6"/>
              </a:cxn>
              <a:cxn ang="0">
                <a:pos x="6" y="0"/>
              </a:cxn>
              <a:cxn ang="0">
                <a:pos x="67" y="0"/>
              </a:cxn>
              <a:cxn ang="0">
                <a:pos x="73" y="6"/>
              </a:cxn>
              <a:cxn ang="0">
                <a:pos x="73" y="47"/>
              </a:cxn>
              <a:cxn ang="0">
                <a:pos x="68" y="6"/>
              </a:cxn>
              <a:cxn ang="0">
                <a:pos x="67" y="5"/>
              </a:cxn>
              <a:cxn ang="0">
                <a:pos x="6" y="5"/>
              </a:cxn>
              <a:cxn ang="0">
                <a:pos x="5" y="6"/>
              </a:cxn>
              <a:cxn ang="0">
                <a:pos x="5" y="37"/>
              </a:cxn>
              <a:cxn ang="0">
                <a:pos x="6" y="39"/>
              </a:cxn>
              <a:cxn ang="0">
                <a:pos x="67" y="39"/>
              </a:cxn>
              <a:cxn ang="0">
                <a:pos x="68" y="37"/>
              </a:cxn>
              <a:cxn ang="0">
                <a:pos x="68" y="6"/>
              </a:cxn>
            </a:cxnLst>
            <a:rect l="0" t="0" r="r" b="b"/>
            <a:pathLst>
              <a:path w="73" h="63">
                <a:moveTo>
                  <a:pt x="73" y="47"/>
                </a:moveTo>
                <a:cubicBezTo>
                  <a:pt x="73" y="50"/>
                  <a:pt x="70" y="53"/>
                  <a:pt x="67" y="53"/>
                </a:cubicBezTo>
                <a:cubicBezTo>
                  <a:pt x="46" y="53"/>
                  <a:pt x="46" y="53"/>
                  <a:pt x="46" y="53"/>
                </a:cubicBezTo>
                <a:cubicBezTo>
                  <a:pt x="46" y="56"/>
                  <a:pt x="48" y="59"/>
                  <a:pt x="48" y="60"/>
                </a:cubicBezTo>
                <a:cubicBezTo>
                  <a:pt x="48" y="62"/>
                  <a:pt x="47" y="63"/>
                  <a:pt x="4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5" y="63"/>
                  <a:pt x="24" y="62"/>
                  <a:pt x="24" y="60"/>
                </a:cubicBezTo>
                <a:cubicBezTo>
                  <a:pt x="24" y="59"/>
                  <a:pt x="26" y="56"/>
                  <a:pt x="26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2" y="53"/>
                  <a:pt x="0" y="50"/>
                  <a:pt x="0" y="47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2" y="0"/>
                  <a:pt x="6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0" y="0"/>
                  <a:pt x="73" y="2"/>
                  <a:pt x="73" y="6"/>
                </a:cubicBezTo>
                <a:lnTo>
                  <a:pt x="73" y="47"/>
                </a:lnTo>
                <a:close/>
                <a:moveTo>
                  <a:pt x="68" y="6"/>
                </a:moveTo>
                <a:cubicBezTo>
                  <a:pt x="68" y="5"/>
                  <a:pt x="67" y="5"/>
                  <a:pt x="67" y="5"/>
                </a:cubicBezTo>
                <a:cubicBezTo>
                  <a:pt x="6" y="5"/>
                  <a:pt x="6" y="5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5" y="37"/>
                  <a:pt x="5" y="37"/>
                  <a:pt x="5" y="37"/>
                </a:cubicBezTo>
                <a:cubicBezTo>
                  <a:pt x="5" y="38"/>
                  <a:pt x="5" y="39"/>
                  <a:pt x="6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8" y="38"/>
                  <a:pt x="68" y="37"/>
                </a:cubicBezTo>
                <a:lnTo>
                  <a:pt x="68" y="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Sev03">
            <a:extLst>
              <a:ext uri="{FF2B5EF4-FFF2-40B4-BE49-F238E27FC236}">
                <a16:creationId xmlns:a16="http://schemas.microsoft.com/office/drawing/2014/main" id="{7D5ABDD9-D020-47C4-AD83-72DFA4AE25F5}"/>
              </a:ext>
            </a:extLst>
          </p:cNvPr>
          <p:cNvSpPr/>
          <p:nvPr/>
        </p:nvSpPr>
        <p:spPr>
          <a:xfrm>
            <a:off x="555602" y="3501365"/>
            <a:ext cx="1310559" cy="1310559"/>
          </a:xfrm>
          <a:prstGeom prst="roundRect">
            <a:avLst/>
          </a:prstGeom>
          <a:solidFill>
            <a:srgbClr val="FEC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333">
              <a:solidFill>
                <a:schemeClr val="accent3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Freeform 178">
            <a:extLst>
              <a:ext uri="{FF2B5EF4-FFF2-40B4-BE49-F238E27FC236}">
                <a16:creationId xmlns:a16="http://schemas.microsoft.com/office/drawing/2014/main" id="{F7467416-E074-4D55-AA19-4D363AAACB79}"/>
              </a:ext>
            </a:extLst>
          </p:cNvPr>
          <p:cNvSpPr>
            <a:spLocks noEditPoints="1"/>
          </p:cNvSpPr>
          <p:nvPr/>
        </p:nvSpPr>
        <p:spPr bwMode="auto">
          <a:xfrm>
            <a:off x="937490" y="3950735"/>
            <a:ext cx="546780" cy="411816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91055CD6-3EF6-46BB-B69A-796DF8FE4A2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79385"/>
            <a:ext cx="9344435" cy="369887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267022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1D99EA-5833-644E-B017-EB7D6EDB225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Limitation</a:t>
            </a:r>
          </a:p>
        </p:txBody>
      </p:sp>
      <p:sp>
        <p:nvSpPr>
          <p:cNvPr id="39" name="Sev04">
            <a:extLst>
              <a:ext uri="{FF2B5EF4-FFF2-40B4-BE49-F238E27FC236}">
                <a16:creationId xmlns:a16="http://schemas.microsoft.com/office/drawing/2014/main" id="{6AA3E1C1-0EAA-4C19-B641-5605ED9C1AAC}"/>
              </a:ext>
            </a:extLst>
          </p:cNvPr>
          <p:cNvSpPr/>
          <p:nvPr/>
        </p:nvSpPr>
        <p:spPr>
          <a:xfrm rot="18900000">
            <a:off x="7286260" y="1835778"/>
            <a:ext cx="1209747" cy="1209747"/>
          </a:xfrm>
          <a:prstGeom prst="rect">
            <a:avLst/>
          </a:prstGeom>
          <a:solidFill>
            <a:srgbClr val="FEC003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F19B14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Sev03">
            <a:extLst>
              <a:ext uri="{FF2B5EF4-FFF2-40B4-BE49-F238E27FC236}">
                <a16:creationId xmlns:a16="http://schemas.microsoft.com/office/drawing/2014/main" id="{A9B5FE86-7A24-40E4-A2C0-76B76879633F}"/>
              </a:ext>
            </a:extLst>
          </p:cNvPr>
          <p:cNvSpPr/>
          <p:nvPr/>
        </p:nvSpPr>
        <p:spPr>
          <a:xfrm rot="18900000">
            <a:off x="5091887" y="1835778"/>
            <a:ext cx="1209747" cy="1209747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9BB955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Sev02">
            <a:extLst>
              <a:ext uri="{FF2B5EF4-FFF2-40B4-BE49-F238E27FC236}">
                <a16:creationId xmlns:a16="http://schemas.microsoft.com/office/drawing/2014/main" id="{928BA394-411E-4C02-B1CF-F22D988B4800}"/>
              </a:ext>
            </a:extLst>
          </p:cNvPr>
          <p:cNvSpPr/>
          <p:nvPr/>
        </p:nvSpPr>
        <p:spPr>
          <a:xfrm rot="18900000">
            <a:off x="2935478" y="1847407"/>
            <a:ext cx="1209747" cy="1209747"/>
          </a:xfrm>
          <a:prstGeom prst="rect">
            <a:avLst/>
          </a:prstGeom>
          <a:solidFill>
            <a:srgbClr val="FEC003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0" cap="none" spc="0" normalizeH="0" baseline="0" noProof="0" dirty="0">
              <a:ln>
                <a:noFill/>
              </a:ln>
              <a:solidFill>
                <a:srgbClr val="15AA96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Sev01">
            <a:extLst>
              <a:ext uri="{FF2B5EF4-FFF2-40B4-BE49-F238E27FC236}">
                <a16:creationId xmlns:a16="http://schemas.microsoft.com/office/drawing/2014/main" id="{0F5B880F-46E8-44DA-88DC-2499C098074A}"/>
              </a:ext>
            </a:extLst>
          </p:cNvPr>
          <p:cNvSpPr/>
          <p:nvPr/>
        </p:nvSpPr>
        <p:spPr>
          <a:xfrm rot="18900000">
            <a:off x="829950" y="1847407"/>
            <a:ext cx="1209747" cy="1209747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14884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623D3DD-45AD-41C3-9E6A-7407829BB2C3}"/>
              </a:ext>
            </a:extLst>
          </p:cNvPr>
          <p:cNvSpPr txBox="1"/>
          <p:nvPr/>
        </p:nvSpPr>
        <p:spPr>
          <a:xfrm>
            <a:off x="187168" y="3429449"/>
            <a:ext cx="2225575" cy="84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ON</a:t>
            </a:r>
          </a:p>
          <a:p>
            <a:pPr algn="ctr">
              <a:spcBef>
                <a:spcPct val="20000"/>
              </a:spcBef>
              <a:defRPr/>
            </a:pPr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training data obtained from a single region</a:t>
            </a:r>
          </a:p>
        </p:txBody>
      </p:sp>
      <p:sp>
        <p:nvSpPr>
          <p:cNvPr id="45" name="Sev01">
            <a:extLst>
              <a:ext uri="{FF2B5EF4-FFF2-40B4-BE49-F238E27FC236}">
                <a16:creationId xmlns:a16="http://schemas.microsoft.com/office/drawing/2014/main" id="{1F8E99F2-9F64-4D1A-BEC4-A2EE9F4E074C}"/>
              </a:ext>
            </a:extLst>
          </p:cNvPr>
          <p:cNvSpPr/>
          <p:nvPr/>
        </p:nvSpPr>
        <p:spPr>
          <a:xfrm rot="18900000">
            <a:off x="829950" y="1763213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14884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4F3F3F9-0E08-4E98-92C4-334E30198E75}"/>
              </a:ext>
            </a:extLst>
          </p:cNvPr>
          <p:cNvSpPr txBox="1"/>
          <p:nvPr/>
        </p:nvSpPr>
        <p:spPr>
          <a:xfrm>
            <a:off x="2444638" y="3429449"/>
            <a:ext cx="2228472" cy="84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b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 WORK</a:t>
            </a:r>
          </a:p>
          <a:p>
            <a:pPr algn="ctr">
              <a:spcBef>
                <a:spcPct val="20000"/>
              </a:spcBef>
              <a:defRPr/>
            </a:pPr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scraped ads manually classified into categories</a:t>
            </a:r>
          </a:p>
        </p:txBody>
      </p:sp>
      <p:sp>
        <p:nvSpPr>
          <p:cNvPr id="47" name="Sev02">
            <a:extLst>
              <a:ext uri="{FF2B5EF4-FFF2-40B4-BE49-F238E27FC236}">
                <a16:creationId xmlns:a16="http://schemas.microsoft.com/office/drawing/2014/main" id="{1163A183-A0B6-49F1-81EB-8F296DD16A2A}"/>
              </a:ext>
            </a:extLst>
          </p:cNvPr>
          <p:cNvSpPr/>
          <p:nvPr/>
        </p:nvSpPr>
        <p:spPr>
          <a:xfrm rot="18900000">
            <a:off x="2935478" y="1778688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0" cap="none" spc="0" normalizeH="0" baseline="0" noProof="0" dirty="0">
              <a:ln>
                <a:noFill/>
              </a:ln>
              <a:solidFill>
                <a:srgbClr val="FEC003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C9ECE99-62C2-4F45-B321-C3366FF4F55A}"/>
              </a:ext>
            </a:extLst>
          </p:cNvPr>
          <p:cNvSpPr txBox="1"/>
          <p:nvPr/>
        </p:nvSpPr>
        <p:spPr>
          <a:xfrm>
            <a:off x="4705005" y="3429000"/>
            <a:ext cx="213500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31626"/>
            <a:r>
              <a:rPr lang="en-US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AGE</a:t>
            </a:r>
          </a:p>
          <a:p>
            <a:pPr algn="ctr" defTabSz="1031626"/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s with only images could not be accounted</a:t>
            </a:r>
          </a:p>
          <a:p>
            <a:pPr algn="ctr" defTabSz="1031626"/>
            <a:endParaRPr lang="en-US" sz="1200" dirty="0">
              <a:solidFill>
                <a:srgbClr val="26262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Sev03">
            <a:extLst>
              <a:ext uri="{FF2B5EF4-FFF2-40B4-BE49-F238E27FC236}">
                <a16:creationId xmlns:a16="http://schemas.microsoft.com/office/drawing/2014/main" id="{4325762A-6A7D-4CDF-A003-B8B367631759}"/>
              </a:ext>
            </a:extLst>
          </p:cNvPr>
          <p:cNvSpPr/>
          <p:nvPr/>
        </p:nvSpPr>
        <p:spPr>
          <a:xfrm rot="18900000">
            <a:off x="5091887" y="1770834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1488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014884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10E7496-CB27-4923-9DBA-8D6A18C01EA1}"/>
              </a:ext>
            </a:extLst>
          </p:cNvPr>
          <p:cNvSpPr txBox="1"/>
          <p:nvPr/>
        </p:nvSpPr>
        <p:spPr>
          <a:xfrm>
            <a:off x="6871908" y="3434440"/>
            <a:ext cx="213500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31626"/>
            <a:r>
              <a:rPr lang="en-US" b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CRIPTION</a:t>
            </a:r>
          </a:p>
          <a:p>
            <a:pPr algn="ctr" defTabSz="1031626"/>
            <a:r>
              <a:rPr lang="en-US" sz="1400" dirty="0">
                <a:solidFill>
                  <a:srgbClr val="26262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lid ads without a body text were ignored.</a:t>
            </a:r>
          </a:p>
        </p:txBody>
      </p:sp>
      <p:sp>
        <p:nvSpPr>
          <p:cNvPr id="51" name="Sev04">
            <a:extLst>
              <a:ext uri="{FF2B5EF4-FFF2-40B4-BE49-F238E27FC236}">
                <a16:creationId xmlns:a16="http://schemas.microsoft.com/office/drawing/2014/main" id="{611FD86D-58E4-4ACA-800B-5616C6984843}"/>
              </a:ext>
            </a:extLst>
          </p:cNvPr>
          <p:cNvSpPr/>
          <p:nvPr/>
        </p:nvSpPr>
        <p:spPr>
          <a:xfrm rot="18900000">
            <a:off x="7273141" y="1770834"/>
            <a:ext cx="1209747" cy="120974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EC00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srgbClr val="F19B14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3" name="Picture 52" descr="A close up of a logo&#10;&#10;Description automatically generated">
            <a:extLst>
              <a:ext uri="{FF2B5EF4-FFF2-40B4-BE49-F238E27FC236}">
                <a16:creationId xmlns:a16="http://schemas.microsoft.com/office/drawing/2014/main" id="{5B7ECB50-1BD9-4202-A064-4D0BDCEEB8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53" t="1305" r="17004" b="15651"/>
          <a:stretch/>
        </p:blipFill>
        <p:spPr>
          <a:xfrm>
            <a:off x="3366615" y="2221858"/>
            <a:ext cx="347472" cy="437586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7568FA15-6917-4FB7-8601-0C8E72B9E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4000" y="2004873"/>
            <a:ext cx="674739" cy="674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6" name="Picture 2" descr="https://static.thenounproject.com/png/1130794-200.png">
            <a:extLst>
              <a:ext uri="{FF2B5EF4-FFF2-40B4-BE49-F238E27FC236}">
                <a16:creationId xmlns:a16="http://schemas.microsoft.com/office/drawing/2014/main" id="{B24B2A64-7948-43C4-AD9D-792800919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8432" y="2024970"/>
            <a:ext cx="676656" cy="67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8" name="Picture 4" descr="https://static.thenounproject.com/png/1822288-200.png">
            <a:extLst>
              <a:ext uri="{FF2B5EF4-FFF2-40B4-BE49-F238E27FC236}">
                <a16:creationId xmlns:a16="http://schemas.microsoft.com/office/drawing/2014/main" id="{CBBF43D3-8810-4A36-96B4-4BA8B5E6E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95" y="2024970"/>
            <a:ext cx="676656" cy="67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5" name="Table 7">
            <a:extLst>
              <a:ext uri="{FF2B5EF4-FFF2-40B4-BE49-F238E27FC236}">
                <a16:creationId xmlns:a16="http://schemas.microsoft.com/office/drawing/2014/main" id="{6F7AC8BC-1FB5-FE41-9C28-A0CA6EB73D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591798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58042BDD-A420-E448-8CA0-830D0C0D89C3}"/>
              </a:ext>
            </a:extLst>
          </p:cNvPr>
          <p:cNvSpPr/>
          <p:nvPr/>
        </p:nvSpPr>
        <p:spPr>
          <a:xfrm>
            <a:off x="5890970" y="6244691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8753F6D-41C4-074B-9B63-C627BA140CBE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062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4" grpId="0"/>
      <p:bldP spid="45" grpId="0" animBg="1"/>
      <p:bldP spid="46" grpId="0"/>
      <p:bldP spid="47" grpId="0" animBg="1"/>
      <p:bldP spid="48" grpId="0"/>
      <p:bldP spid="49" grpId="0" animBg="1"/>
      <p:bldP spid="50" grpId="0"/>
      <p:bldP spid="5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49368D1-3078-B449-A272-DDBB7A6481A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Future Scop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CC8F05-505C-4534-8F25-35EF70DCEF79}"/>
              </a:ext>
            </a:extLst>
          </p:cNvPr>
          <p:cNvSpPr/>
          <p:nvPr/>
        </p:nvSpPr>
        <p:spPr>
          <a:xfrm>
            <a:off x="739068" y="3397423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mplement external data in our model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CDB4BE9-4CD6-4FD3-B9CB-E8B370B025B2}"/>
              </a:ext>
            </a:extLst>
          </p:cNvPr>
          <p:cNvSpPr/>
          <p:nvPr/>
        </p:nvSpPr>
        <p:spPr>
          <a:xfrm>
            <a:off x="2881507" y="1611678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xpand the model to cater to more categories</a:t>
            </a:r>
          </a:p>
        </p:txBody>
      </p:sp>
      <p:sp>
        <p:nvSpPr>
          <p:cNvPr id="20" name="Down Arrow Callout 31">
            <a:extLst>
              <a:ext uri="{FF2B5EF4-FFF2-40B4-BE49-F238E27FC236}">
                <a16:creationId xmlns:a16="http://schemas.microsoft.com/office/drawing/2014/main" id="{50E58BF3-D023-48B9-91CF-A531FCBA4B9D}"/>
              </a:ext>
            </a:extLst>
          </p:cNvPr>
          <p:cNvSpPr/>
          <p:nvPr/>
        </p:nvSpPr>
        <p:spPr>
          <a:xfrm>
            <a:off x="739068" y="1611677"/>
            <a:ext cx="2007972" cy="1996875"/>
          </a:xfrm>
          <a:prstGeom prst="downArrowCallout">
            <a:avLst>
              <a:gd name="adj1" fmla="val 23554"/>
              <a:gd name="adj2" fmla="val 10346"/>
              <a:gd name="adj3" fmla="val 10003"/>
              <a:gd name="adj4" fmla="val 89997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Up Arrow Callout 59">
            <a:extLst>
              <a:ext uri="{FF2B5EF4-FFF2-40B4-BE49-F238E27FC236}">
                <a16:creationId xmlns:a16="http://schemas.microsoft.com/office/drawing/2014/main" id="{76D27886-E5DC-4D47-B72A-8FD19309C2F1}"/>
              </a:ext>
            </a:extLst>
          </p:cNvPr>
          <p:cNvSpPr/>
          <p:nvPr/>
        </p:nvSpPr>
        <p:spPr>
          <a:xfrm>
            <a:off x="2881507" y="3032482"/>
            <a:ext cx="2007972" cy="2016245"/>
          </a:xfrm>
          <a:prstGeom prst="upArrowCallout">
            <a:avLst>
              <a:gd name="adj1" fmla="val 25000"/>
              <a:gd name="adj2" fmla="val 9346"/>
              <a:gd name="adj3" fmla="val 11156"/>
              <a:gd name="adj4" fmla="val 88844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A24DFE-8A0D-4B31-BD5A-8817EC0B8D6E}"/>
              </a:ext>
            </a:extLst>
          </p:cNvPr>
          <p:cNvSpPr/>
          <p:nvPr/>
        </p:nvSpPr>
        <p:spPr>
          <a:xfrm>
            <a:off x="5001986" y="3397423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efine the detection of spam ads</a:t>
            </a:r>
          </a:p>
        </p:txBody>
      </p:sp>
      <p:sp>
        <p:nvSpPr>
          <p:cNvPr id="24" name="Down Arrow Callout 14">
            <a:extLst>
              <a:ext uri="{FF2B5EF4-FFF2-40B4-BE49-F238E27FC236}">
                <a16:creationId xmlns:a16="http://schemas.microsoft.com/office/drawing/2014/main" id="{8EA36287-FDC4-43C1-AD13-D8CC13E7E911}"/>
              </a:ext>
            </a:extLst>
          </p:cNvPr>
          <p:cNvSpPr/>
          <p:nvPr/>
        </p:nvSpPr>
        <p:spPr>
          <a:xfrm>
            <a:off x="5001986" y="1611677"/>
            <a:ext cx="2007972" cy="1996875"/>
          </a:xfrm>
          <a:prstGeom prst="downArrowCallout">
            <a:avLst>
              <a:gd name="adj1" fmla="val 23554"/>
              <a:gd name="adj2" fmla="val 10346"/>
              <a:gd name="adj3" fmla="val 10003"/>
              <a:gd name="adj4" fmla="val 89997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26BFC7-0CA1-4CFD-9F71-2B70B5EBB8B2}"/>
              </a:ext>
            </a:extLst>
          </p:cNvPr>
          <p:cNvSpPr/>
          <p:nvPr/>
        </p:nvSpPr>
        <p:spPr>
          <a:xfrm>
            <a:off x="7133445" y="1611678"/>
            <a:ext cx="2007972" cy="1651304"/>
          </a:xfrm>
          <a:prstGeom prst="rect">
            <a:avLst/>
          </a:prstGeom>
          <a:solidFill>
            <a:srgbClr val="014884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mplement the model with image processing</a:t>
            </a:r>
          </a:p>
        </p:txBody>
      </p:sp>
      <p:sp>
        <p:nvSpPr>
          <p:cNvPr id="26" name="Up Arrow Callout 18">
            <a:extLst>
              <a:ext uri="{FF2B5EF4-FFF2-40B4-BE49-F238E27FC236}">
                <a16:creationId xmlns:a16="http://schemas.microsoft.com/office/drawing/2014/main" id="{32DAED09-0D44-4A29-B038-344C4C425D76}"/>
              </a:ext>
            </a:extLst>
          </p:cNvPr>
          <p:cNvSpPr/>
          <p:nvPr/>
        </p:nvSpPr>
        <p:spPr>
          <a:xfrm>
            <a:off x="7133445" y="3032482"/>
            <a:ext cx="2007972" cy="2016245"/>
          </a:xfrm>
          <a:prstGeom prst="upArrowCallout">
            <a:avLst>
              <a:gd name="adj1" fmla="val 25000"/>
              <a:gd name="adj2" fmla="val 9346"/>
              <a:gd name="adj3" fmla="val 11156"/>
              <a:gd name="adj4" fmla="val 88844"/>
            </a:avLst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CEE37D0D-21A0-4CD3-843C-26D15CE37A1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rgbClr val="237D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9" r="5845" b="12609"/>
          <a:stretch/>
        </p:blipFill>
        <p:spPr>
          <a:xfrm>
            <a:off x="3566363" y="3725136"/>
            <a:ext cx="638260" cy="630936"/>
          </a:xfrm>
          <a:prstGeom prst="rect">
            <a:avLst/>
          </a:prstGeom>
        </p:spPr>
      </p:pic>
      <p:pic>
        <p:nvPicPr>
          <p:cNvPr id="29" name="Picture 28" descr="A close up of a logo&#10;&#10;Description automatically generated">
            <a:extLst>
              <a:ext uri="{FF2B5EF4-FFF2-40B4-BE49-F238E27FC236}">
                <a16:creationId xmlns:a16="http://schemas.microsoft.com/office/drawing/2014/main" id="{14E95B38-3701-45B2-AEED-EBC4273E4F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rgbClr val="237D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6" t="4074" r="10483" b="17454"/>
          <a:stretch/>
        </p:blipFill>
        <p:spPr>
          <a:xfrm>
            <a:off x="5692519" y="2121862"/>
            <a:ext cx="626905" cy="63093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DF7E0DC2-0FF0-4569-8174-41170F0DC68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rgbClr val="237DB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r="7255" b="12963"/>
          <a:stretch/>
        </p:blipFill>
        <p:spPr>
          <a:xfrm>
            <a:off x="7816040" y="3725136"/>
            <a:ext cx="642781" cy="630936"/>
          </a:xfrm>
          <a:prstGeom prst="rect">
            <a:avLst/>
          </a:prstGeom>
        </p:spPr>
      </p:pic>
      <p:pic>
        <p:nvPicPr>
          <p:cNvPr id="51202" name="Picture 2" descr="https://static.thenounproject.com/png/2880299-200.png">
            <a:extLst>
              <a:ext uri="{FF2B5EF4-FFF2-40B4-BE49-F238E27FC236}">
                <a16:creationId xmlns:a16="http://schemas.microsoft.com/office/drawing/2014/main" id="{CDE2913B-3BDA-44A1-9FEC-253889DCE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7586" y="2116995"/>
            <a:ext cx="630936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1A35E419-CA3A-FF4B-9581-C614E18F19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591798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6D5B2401-AD88-B346-8F16-AE76307E6704}"/>
              </a:ext>
            </a:extLst>
          </p:cNvPr>
          <p:cNvSpPr/>
          <p:nvPr/>
        </p:nvSpPr>
        <p:spPr>
          <a:xfrm>
            <a:off x="5890970" y="6244691"/>
            <a:ext cx="1940207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45EAE83-6783-114E-A180-036604FC984E}"/>
              </a:ext>
            </a:extLst>
          </p:cNvPr>
          <p:cNvSpPr/>
          <p:nvPr/>
        </p:nvSpPr>
        <p:spPr>
          <a:xfrm>
            <a:off x="24575" y="6236930"/>
            <a:ext cx="5893481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265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8C661F-7601-4E40-966D-A22B00BA058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82218" y="2789256"/>
            <a:ext cx="9344435" cy="369887"/>
          </a:xfrm>
        </p:spPr>
        <p:txBody>
          <a:bodyPr/>
          <a:lstStyle/>
          <a:p>
            <a:r>
              <a:rPr lang="en-US" sz="6000" dirty="0">
                <a:solidFill>
                  <a:srgbClr val="004584"/>
                </a:solidFill>
              </a:rPr>
              <a:t>Thank You </a:t>
            </a:r>
            <a:r>
              <a:rPr lang="en-US" sz="6000" dirty="0">
                <a:solidFill>
                  <a:srgbClr val="004584"/>
                </a:solidFill>
                <a:sym typeface="Wingdings" panose="05000000000000000000" pitchFamily="2" charset="2"/>
              </a:rPr>
              <a:t></a:t>
            </a:r>
            <a:endParaRPr lang="en-US" dirty="0">
              <a:solidFill>
                <a:srgbClr val="0045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7147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8C661F-7601-4E40-966D-A22B00BA058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55941" y="3059113"/>
            <a:ext cx="9344435" cy="369887"/>
          </a:xfrm>
        </p:spPr>
        <p:txBody>
          <a:bodyPr/>
          <a:lstStyle/>
          <a:p>
            <a:r>
              <a:rPr lang="en-US" sz="6000" dirty="0">
                <a:latin typeface="Segoe UI" panose="020B0502040204020203" pitchFamily="34" charset="0"/>
                <a:cs typeface="Segoe UI" panose="020B0502040204020203" pitchFamily="34" charset="0"/>
              </a:rPr>
              <a:t>APPENDIX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0145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3018B91-E27A-4CC6-8F95-D983EED00D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pider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D83B697-9B8D-40EE-B396-1AE6E33FB39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0880" y="3179701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-*- coding: utf-8 -*-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rapy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rapy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est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class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ojectSpid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rapy.Spid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name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project'</a:t>
            </a:r>
            <a:b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llowed_domain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craigslist.org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kumimoji="0" lang="en-US" altLang="en-US" sz="900" b="0" i="1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start_urls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= ['https://chicago.craigslist.org/d/general-for-sale/search/</a:t>
            </a:r>
            <a:r>
              <a:rPr kumimoji="0" lang="en-US" altLang="en-US" sz="900" b="0" i="1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foa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']    # for general data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art_url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https://indianapolis.craigslist.org/d/cars-trucks/search/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cta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 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for cars data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rse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response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deals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//p[@class="result-info"]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print(adv)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s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title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/text()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tract_fir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price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span[@class="result-meta"]/span[@class="result-price"]/text()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tract_fir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al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/@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href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tract_fir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urljo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yield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es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wer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allbac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arse_lower,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{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itle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title,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Price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price}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//a[@class="button next"]/@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href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get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urljo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rel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yield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es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_ur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allbac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pars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rse_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94558D"/>
                </a:solidFill>
                <a:effectLst/>
                <a:latin typeface="Consolas" panose="020B0609020204030204" pitchFamily="49" charset="0"/>
              </a:rPr>
              <a:t>sel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response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text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line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ne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xpa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\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//*[@id="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postingbody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]/text()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etal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text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 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add content to meta property for generating new column in output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text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move metadata column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depth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download_timeout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download_slot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l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download_latency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yield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sponse.met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1383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F35D98-D532-45A8-B78B-0416823912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IN" dirty="0">
                <a:latin typeface="Segoe UI" panose="020B0502040204020203" pitchFamily="34" charset="0"/>
                <a:cs typeface="Segoe UI" panose="020B0502040204020203" pitchFamily="34" charset="0"/>
              </a:rPr>
              <a:t>Data Read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D926B49-6095-4E71-B0A1-9F6B79EBDC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925" y="3200400"/>
            <a:ext cx="9906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 initialize ####################################################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nda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s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d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py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s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p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ltk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ltk.corpu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feature_extraction.text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ntVectoriz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decomposition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atentDirichletAllocation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feature_extraction.text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Vectoriz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neural_network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LPClassifi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metric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uracy_score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py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ensim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linear_model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isticRegression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naive_bayes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ultinomialNB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svm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nearSVC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klearn.ensemble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andomForestClassifier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lnames=[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Label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 = pd.read_csv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C: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Users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bhin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UDProject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general.csv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usecol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colnames)    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for general data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 = pd.read_csv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C: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Users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bhin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UDProject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\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cars.csv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usecol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colnames)    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for car data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dropna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ow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ny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hresh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ubse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dropna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ow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ny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hresh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ubse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n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 = df_gen[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tolist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 = df_car[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tolist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s, lemmatized = [], []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emmatizer = nltk.stem.WordNetLemmatizer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 = TfidfVectoriz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vectorizer = CountVectoriz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top_word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english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########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5940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1CD5A3-E3FF-4BE1-A867-6D7CA45513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ata Preprocessing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50FBC567-A637-4A84-92C9-A5F2A6C3AD9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3304350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 Preprocess ###############################################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not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sinstan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not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sinstan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e_process_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ext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okens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ltk.word_token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ext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lemmatized =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emmatizer.lemmat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oken)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s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.isalph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lemmatized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 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lemmatized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emmatized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ma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e_process_text,reviews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ma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e_process_text,reviews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1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column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dro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1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n1]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gen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2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column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drop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2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xi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n2]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views_car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.values.to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.values.to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: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]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split train and test set for restaurant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: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ata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]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split train and test set for movie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ing, testing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combine training and test sets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ing],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ing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ing], 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sting]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dummy function for pre processing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oc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c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Vector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naly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word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reprocesso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top_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english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initialize TF-IDF vectorizer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f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########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54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467" y="265237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467" y="265237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38100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108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955" y="237069"/>
            <a:ext cx="9450090" cy="443198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Group 1</a:t>
            </a:r>
            <a:endParaRPr lang="en-US" sz="3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9005187-AA29-42E7-AE0B-EF46E9BAAF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720" y="2589845"/>
            <a:ext cx="1042416" cy="1084419"/>
          </a:xfrm>
          <a:prstGeom prst="ellipse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CF15FAA-69C2-4AA5-84B1-D0C54BCABD9E}"/>
              </a:ext>
            </a:extLst>
          </p:cNvPr>
          <p:cNvCxnSpPr/>
          <p:nvPr/>
        </p:nvCxnSpPr>
        <p:spPr>
          <a:xfrm>
            <a:off x="1681996" y="3725300"/>
            <a:ext cx="0" cy="847786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D164601-FA1C-489A-83F4-BBB2C9D3D42C}"/>
              </a:ext>
            </a:extLst>
          </p:cNvPr>
          <p:cNvSpPr txBox="1"/>
          <p:nvPr/>
        </p:nvSpPr>
        <p:spPr>
          <a:xfrm>
            <a:off x="891767" y="4688071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bin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indal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80974DA-BCF8-47E2-BD32-E9225BAB56A1}"/>
              </a:ext>
            </a:extLst>
          </p:cNvPr>
          <p:cNvCxnSpPr>
            <a:cxnSpLocks/>
          </p:cNvCxnSpPr>
          <p:nvPr/>
        </p:nvCxnSpPr>
        <p:spPr>
          <a:xfrm>
            <a:off x="3382109" y="2871019"/>
            <a:ext cx="0" cy="1702067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B817DCFE-3D3D-4024-BFCA-B858A3EABC80}"/>
              </a:ext>
            </a:extLst>
          </p:cNvPr>
          <p:cNvSpPr txBox="1"/>
          <p:nvPr/>
        </p:nvSpPr>
        <p:spPr>
          <a:xfrm>
            <a:off x="4178567" y="4688071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hinav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nda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FF5E661-07E9-47DE-8C27-0A61EE0B0B3E}"/>
              </a:ext>
            </a:extLst>
          </p:cNvPr>
          <p:cNvCxnSpPr/>
          <p:nvPr/>
        </p:nvCxnSpPr>
        <p:spPr>
          <a:xfrm>
            <a:off x="4954431" y="3725300"/>
            <a:ext cx="0" cy="847786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E9CD2B5-6024-4CAC-9AA0-4FF9A3B30292}"/>
              </a:ext>
            </a:extLst>
          </p:cNvPr>
          <p:cNvSpPr txBox="1"/>
          <p:nvPr/>
        </p:nvSpPr>
        <p:spPr>
          <a:xfrm>
            <a:off x="7440705" y="4688071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hul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dhu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A4F61A46-38EE-4659-A8F2-21FE09A8A9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336" y="1655011"/>
            <a:ext cx="1042416" cy="1042416"/>
          </a:xfrm>
          <a:prstGeom prst="ellipse">
            <a:avLst/>
          </a:prstGeom>
        </p:spPr>
      </p:pic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CD299C11-F196-4F50-8F2E-164F5E4E499C}"/>
              </a:ext>
            </a:extLst>
          </p:cNvPr>
          <p:cNvCxnSpPr>
            <a:cxnSpLocks/>
          </p:cNvCxnSpPr>
          <p:nvPr/>
        </p:nvCxnSpPr>
        <p:spPr>
          <a:xfrm>
            <a:off x="6654544" y="2766295"/>
            <a:ext cx="0" cy="1806791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593F7580-57B8-49F2-9410-6AF55A5211D6}"/>
              </a:ext>
            </a:extLst>
          </p:cNvPr>
          <p:cNvSpPr txBox="1"/>
          <p:nvPr/>
        </p:nvSpPr>
        <p:spPr>
          <a:xfrm>
            <a:off x="5868383" y="4744207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 err="1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rthankar</a:t>
            </a:r>
            <a:endParaRPr lang="en-IN" sz="1400" b="1" dirty="0">
              <a:solidFill>
                <a:srgbClr val="01488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khopadhyay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8087B53-38CA-406F-94B7-3D23BDB68AAD}"/>
              </a:ext>
            </a:extLst>
          </p:cNvPr>
          <p:cNvCxnSpPr/>
          <p:nvPr/>
        </p:nvCxnSpPr>
        <p:spPr>
          <a:xfrm>
            <a:off x="8226866" y="3710354"/>
            <a:ext cx="0" cy="847786"/>
          </a:xfrm>
          <a:prstGeom prst="line">
            <a:avLst/>
          </a:prstGeom>
          <a:ln w="6350" cap="flat">
            <a:solidFill>
              <a:schemeClr val="accent3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9392A626-8120-4821-9B8C-E674C9E9C960}"/>
              </a:ext>
            </a:extLst>
          </p:cNvPr>
          <p:cNvSpPr txBox="1"/>
          <p:nvPr/>
        </p:nvSpPr>
        <p:spPr>
          <a:xfrm>
            <a:off x="2595913" y="4690822"/>
            <a:ext cx="1572322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hinder P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y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87A102-8224-4DD3-98C5-F48C1F261203}"/>
              </a:ext>
            </a:extLst>
          </p:cNvPr>
          <p:cNvSpPr txBox="1"/>
          <p:nvPr/>
        </p:nvSpPr>
        <p:spPr>
          <a:xfrm>
            <a:off x="181362" y="5617200"/>
            <a:ext cx="9724637" cy="3611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277"/>
              </a:spcBef>
              <a:buClr>
                <a:srgbClr val="3366CC"/>
              </a:buClr>
            </a:pPr>
            <a:r>
              <a:rPr lang="en-US" sz="1600" b="1" i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+ years</a:t>
            </a:r>
            <a:r>
              <a:rPr lang="en-US" sz="1600" i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f cumulative experience in analytics &amp; consulting with key clients across diverse industries</a:t>
            </a:r>
          </a:p>
        </p:txBody>
      </p:sp>
      <p:graphicFrame>
        <p:nvGraphicFramePr>
          <p:cNvPr id="23" name="Table 7">
            <a:extLst>
              <a:ext uri="{FF2B5EF4-FFF2-40B4-BE49-F238E27FC236}">
                <a16:creationId xmlns:a16="http://schemas.microsoft.com/office/drawing/2014/main" id="{9FACF756-45A1-9F4C-A8FA-2E68CA0D53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368562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569EEF32-0B50-C640-ACA7-ACC45828C962}"/>
              </a:ext>
            </a:extLst>
          </p:cNvPr>
          <p:cNvSpPr/>
          <p:nvPr/>
        </p:nvSpPr>
        <p:spPr>
          <a:xfrm>
            <a:off x="5919656" y="6253064"/>
            <a:ext cx="3840248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61577A-0021-1048-B458-B2A5DC676C9D}"/>
              </a:ext>
            </a:extLst>
          </p:cNvPr>
          <p:cNvSpPr/>
          <p:nvPr/>
        </p:nvSpPr>
        <p:spPr>
          <a:xfrm>
            <a:off x="1950596" y="6244451"/>
            <a:ext cx="396906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BEB582-EF8C-48AE-BB38-5B14CCD740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75195" y="1622525"/>
            <a:ext cx="1041197" cy="1127514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5FB9AF2-5906-4959-8B20-3CA797661F7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33809" y="2550574"/>
            <a:ext cx="1042416" cy="1119116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4858CC3-2B23-44FD-B051-72007684AA1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10791" y="2606524"/>
            <a:ext cx="1084417" cy="108441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293563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C46BD9-CAF8-4301-8F8D-ED2F463571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Modelling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5C312CC2-0BD4-4C88-B4EB-026AED8F73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3591760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  Modelling ############################################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Logit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itmodel = LogisticRegression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it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logit = Logit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logit = accuracy_score(y_test, y_pred_logi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Logit model Accuracy:: 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logit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Naive Bayes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Bmodel = MultinomialNB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B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NB = NB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NB = accuracy_score(y_test, y_pred_NB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Naive Bayes model Accuracy::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NB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Support Vector Classifier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VMmodel = LinearSVC(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VM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SVM = SVM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SVM = accuracy_score(y_test, y_pred_SVM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SVM model Accuracy: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SVM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andom Forest Classifier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Fmodel = RandomForestClassifi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estimator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depth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riterion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entropy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bootstrap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 number of trees and number of layers/depth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Fmodel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RF = RFmodel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RF = accuracy_score(y_test, y_pred_RF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Random Forest Model Accuracy: 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RF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Deep Learning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 = MLPClassifi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olv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m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idden_layer_size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6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iter_no_ch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earning_r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ptive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it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erbo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arly_stopping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DL= DLmodel2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 = accuracy_score(y_test, y_pred_DL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DL model Accuracy: {:.2f}%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acc_DL*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########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3240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DE4DD2-4099-42D9-9731-B13F2C5BBC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yperparameter Tuning (MLP Classifier) - 1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69A0A39E-65A6-4E9B-B5BA-6292063F53C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2438209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(ran,min, train, test):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(doc):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c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ran = 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ra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ra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fidf = TfidfVectoriz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nalyz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word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reprocesso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tk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tk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ran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initialize TF-IDF vectorizer</a:t>
            </a:r>
            <a:b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fit(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x_train = tfidf.transform(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x_test = tfidf.transform(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For min_df=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min,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and ngram=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ra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,x_test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eep(i,j,x_train,y_train,x_test,y_test):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DLmodel2 = MLPClassifier(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olv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m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idden_layer_size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i,j)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iter_no_chang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earning_rat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ptive'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it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erbo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arly_stopping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DLmodel2.fit(x_train, y_train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y_pred_DL = DLmodel2.predict(x_test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acc_DL = accuracy_score(y_test, y_pred_DL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For nodes = 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i,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and layers = 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j,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 accuracy=  "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acc_DL)</a:t>
            </a:r>
            <a:b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672D2964-00CD-4389-A2AB-A420CCFC6903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73050" y="611188"/>
            <a:ext cx="7475538" cy="5386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f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FFC66D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est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f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FFC66D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k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doc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tur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oc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ran = 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1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in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ra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Vectoriz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nalyz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word'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eprocesso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k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okeniz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k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gram_rang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ra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# initialize TF-IDF vectorizer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.fi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trai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.transfor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trai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fidf.transfor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test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in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For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and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gr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turn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f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FFC66D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deep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j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DLmodel2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LPClassifi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solv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d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hidden_layer_sizes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j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andom_stat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1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iter_no_chang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0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earning_rat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'adaptive'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ax_iter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00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verbos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alse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A492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early_stopping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u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DLmodel2.fit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rain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pred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DLmodel2.predict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uracy_scor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pred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prin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For nodes = 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and layers = 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j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" accuracy=  "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_DL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return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3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]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gr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3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]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TFIDF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gram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x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odes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i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p.arange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(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0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)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for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ayers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n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[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2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3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4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5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6897BB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6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]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 acc = deep(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odes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layers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rain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test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,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y_test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)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CC7832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if 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acc&gt;best: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best=acc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min_df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=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min_df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ngram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n_gram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nodes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nodes</a:t>
            </a:r>
            <a:b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</a:b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                    </a:t>
            </a:r>
            <a:r>
              <a:rPr kumimoji="0" lang="en-US" altLang="en-US" sz="1000" b="0" i="0" u="none" strike="noStrike" cap="none" normalizeH="0" baseline="0" dirty="0" err="1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best_layers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Consolas" panose="020B0609020204030204" pitchFamily="49" charset="0"/>
                <a:ea typeface="Calibri" panose="020F0502020204030204" pitchFamily="34" charset="0"/>
                <a:cs typeface="Courier New" panose="02070309020205020404" pitchFamily="49" charset="0"/>
              </a:rPr>
              <a:t> = layer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02843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DE4DD2-4099-42D9-9731-B13F2C5BBC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Hyperparameter Tuning (MLP Classifier) - 2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0E5B442-3923-4075-A4E8-33C56E9E8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3179701"/>
            <a:ext cx="7685647" cy="24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_gra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,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TFIDF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_gram,min_df,x_train,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odes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li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p.ar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ayers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acc = deep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odes,layers,train,y_train,test,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&gt;best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best=acc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in_df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ngra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_gram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nod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nodes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est_layer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layers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oc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oc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Vector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naly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word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reprocesso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oken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k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gram_r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f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f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fidf.transfor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x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Deep Learning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LPClassifi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solv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dam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hidden_layer_siz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_iter_no_chang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earning_r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daptive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_it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erbos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als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arly_stopping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Lmodel2.fi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 DLmodel2.predic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uracy_scor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y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pred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"DL model Accuracy: {:.2f}%"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_DL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3854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273653-6598-4060-A4BF-10796033A5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LSTM Modelling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DE9EC343-F760-401E-82F1-960044F070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640" y="649272"/>
            <a:ext cx="7526215" cy="618630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 LSTM #################################################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f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lean_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ext):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lowercase text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PLACE_BY_SPACE_RE.sub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 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      text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place REPLACE_BY_SPACE_RE symbols by space in text. substitute the matched string in REPLACE_BY_SPACE_RE with space.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D_SYMBOLS_RE.sub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          text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move symbols which are in BAD_SYMBOLS_RE from text. substitute the matched string in BAD_SYMBOLS_RE with nothing.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re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x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text =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 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join(word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or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word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.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f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word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not i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)  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 remove </a:t>
            </a:r>
            <a:r>
              <a:rPr kumimoji="0" lang="en-US" altLang="en-US" sz="900" b="0" i="1" u="none" strike="noStrike" cap="none" normalizeH="0" baseline="0" dirty="0" err="1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stopwors</a:t>
            </a: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from text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ext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, 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REPLACE_BY_SPACE_R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se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opwords.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english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’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, </a:t>
            </a:r>
            <a:r>
              <a:rPr lang="en-US" alt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re.compile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altLang="en-US" sz="900" b="1" dirty="0">
                <a:solidFill>
                  <a:srgbClr val="008080"/>
                </a:solidFill>
                <a:latin typeface="Consolas" panose="020B0609020204030204" pitchFamily="49" charset="0"/>
              </a:rPr>
              <a:t>'[/(){}\[\]\|@,;]'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D_SYMBOLS_RE, 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STOP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.compil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[^a-z #+_]’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 </a:t>
            </a:r>
            <a:r>
              <a:rPr lang="en-US" altLang="en-US" sz="900" dirty="0">
                <a:solidFill>
                  <a:srgbClr val="000080"/>
                </a:solidFill>
                <a:latin typeface="Consolas" panose="020B0609020204030204" pitchFamily="49" charset="0"/>
              </a:rPr>
              <a:t>set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alt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stopwords.words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altLang="en-US" sz="900" b="1" dirty="0">
                <a:solidFill>
                  <a:srgbClr val="008080"/>
                </a:solidFill>
                <a:latin typeface="Consolas" panose="020B0609020204030204" pitchFamily="49" charset="0"/>
              </a:rPr>
              <a:t>'</a:t>
            </a:r>
            <a:r>
              <a:rPr lang="en-US" altLang="en-US" sz="900" b="1" dirty="0" err="1">
                <a:solidFill>
                  <a:srgbClr val="008080"/>
                </a:solidFill>
                <a:latin typeface="Consolas" panose="020B0609020204030204" pitchFamily="49" charset="0"/>
              </a:rPr>
              <a:t>english</a:t>
            </a:r>
            <a:r>
              <a:rPr lang="en-US" altLang="en-US" sz="900" b="1" dirty="0">
                <a:solidFill>
                  <a:srgbClr val="008080"/>
                </a:solidFill>
                <a:latin typeface="Consolas" panose="020B0609020204030204" pitchFamily="49" charset="0"/>
              </a:rPr>
              <a:t>'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AX_NB_WORDS, </a:t>
            </a:r>
            <a:r>
              <a:rPr lang="en-US" alt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MAX_SEQUENCE_LENGTH, EMBEDDING_DIM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50000</a:t>
            </a:r>
            <a:r>
              <a:rPr lang="en-US" altLang="en-US" sz="900" i="1" dirty="0">
                <a:solidFill>
                  <a:srgbClr val="808080"/>
                </a:solidFill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50, </a:t>
            </a:r>
            <a:r>
              <a:rPr lang="en-US" alt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0</a:t>
            </a: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d.conca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g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_ca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styp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st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apply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lean_tex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 = 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r.repla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\d+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 = Tokenizer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num_word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MAX_NB_WORDS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filter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!"#$%&amp;()*+,-./:;&lt;=&gt;?@[\]^_`{|}~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ow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.fit_on_text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values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.texts_to_sequenc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xt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.values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ad_sequenc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axle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MAX_SEQUENCE_LENGTH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d.get_dummie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f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Label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.values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word_index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kenizer.word_index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X,Y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test_s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andom_st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42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 = Sequential(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mbedding(MAX_NB_WORDS, EMBEDDING_DIM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input_length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.shap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SpatialDropout1D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5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LSTM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4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dropou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recurrent_dropou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add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ense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activatio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softmax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compil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los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categorical_crossentropy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optimize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adam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etric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[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accuracy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pochs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2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60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istory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f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Y_train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epoch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epochs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batch_siz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tch_size,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validation_spli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           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callback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[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arlyStopping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onito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1" i="0" u="none" strike="noStrike" cap="none" normalizeH="0" baseline="0" dirty="0" err="1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val_loss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patienc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660099"/>
                </a:solidFill>
                <a:effectLst/>
                <a:latin typeface="Consolas" panose="020B0609020204030204" pitchFamily="49" charset="0"/>
              </a:rPr>
              <a:t>min_delta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.000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]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odel.evaluate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X_test,Y_tes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'Test set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  Loss: {:0.3f}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kumimoji="0" lang="en-US" altLang="en-US" sz="900" b="1" i="0" u="none" strike="noStrike" cap="none" normalizeH="0" baseline="0" dirty="0">
                <a:ln>
                  <a:noFill/>
                </a:ln>
                <a:solidFill>
                  <a:srgbClr val="008080"/>
                </a:solidFill>
                <a:effectLst/>
                <a:latin typeface="Consolas" panose="020B0609020204030204" pitchFamily="49" charset="0"/>
              </a:rPr>
              <a:t>  Accuracy: {:0.3f}'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format(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,</a:t>
            </a:r>
            <a:r>
              <a:rPr kumimoji="0" lang="en-US" altLang="en-US" sz="9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r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]))</a:t>
            </a: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b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###########################################################################################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9970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4127F96-61C5-E94C-9184-44D00863FB8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ata Distribu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412F20-0F7A-F448-AC74-26CDACD1A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112F27-1457-D046-8804-F1C42A7DC5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100" y="996950"/>
            <a:ext cx="9575800" cy="486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5462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18475B-6675-8440-A218-C007695BEB33}"/>
              </a:ext>
            </a:extLst>
          </p:cNvPr>
          <p:cNvSpPr txBox="1">
            <a:spLocks/>
          </p:cNvSpPr>
          <p:nvPr/>
        </p:nvSpPr>
        <p:spPr>
          <a:xfrm>
            <a:off x="3505193" y="1873511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+mj-lt"/>
              </a:rPr>
              <a:t>Client Introduc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81907D8-742A-594B-9EBC-7A83C40A1720}"/>
              </a:ext>
            </a:extLst>
          </p:cNvPr>
          <p:cNvSpPr txBox="1">
            <a:spLocks/>
          </p:cNvSpPr>
          <p:nvPr/>
        </p:nvSpPr>
        <p:spPr>
          <a:xfrm>
            <a:off x="3505193" y="2657615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+mj-lt"/>
              </a:rPr>
              <a:t>Business Problem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5954B51-3B1D-A742-9F1D-9ECAD002830C}"/>
              </a:ext>
            </a:extLst>
          </p:cNvPr>
          <p:cNvSpPr txBox="1">
            <a:spLocks/>
          </p:cNvSpPr>
          <p:nvPr/>
        </p:nvSpPr>
        <p:spPr>
          <a:xfrm>
            <a:off x="3505193" y="3441719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Methodology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672C237-0F64-4B48-AC9E-5DF3C2DC656A}"/>
              </a:ext>
            </a:extLst>
          </p:cNvPr>
          <p:cNvSpPr txBox="1">
            <a:spLocks/>
          </p:cNvSpPr>
          <p:nvPr/>
        </p:nvSpPr>
        <p:spPr>
          <a:xfrm>
            <a:off x="3505193" y="4225823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+mj-lt"/>
              </a:rPr>
              <a:t>Modeling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34E5D82-75A6-304A-94FE-EDE120D2A40B}"/>
              </a:ext>
            </a:extLst>
          </p:cNvPr>
          <p:cNvSpPr txBox="1">
            <a:spLocks/>
          </p:cNvSpPr>
          <p:nvPr/>
        </p:nvSpPr>
        <p:spPr>
          <a:xfrm>
            <a:off x="3505193" y="5009925"/>
            <a:ext cx="3291840" cy="56489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14884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Take-away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AC5034-78D8-7E49-8E57-1087369A6138}"/>
              </a:ext>
            </a:extLst>
          </p:cNvPr>
          <p:cNvSpPr/>
          <p:nvPr/>
        </p:nvSpPr>
        <p:spPr>
          <a:xfrm>
            <a:off x="2930759" y="1160282"/>
            <a:ext cx="3866820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b="1" dirty="0"/>
              <a:t>AGENDA FOR TODAY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52E5776-0EA2-5940-B14F-6EC7218334AF}"/>
              </a:ext>
            </a:extLst>
          </p:cNvPr>
          <p:cNvCxnSpPr>
            <a:cxnSpLocks/>
          </p:cNvCxnSpPr>
          <p:nvPr/>
        </p:nvCxnSpPr>
        <p:spPr>
          <a:xfrm>
            <a:off x="2930213" y="1464153"/>
            <a:ext cx="3867912" cy="0"/>
          </a:xfrm>
          <a:prstGeom prst="line">
            <a:avLst/>
          </a:prstGeom>
          <a:ln w="19050" cap="flat">
            <a:solidFill>
              <a:srgbClr val="01488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3">
            <a:extLst>
              <a:ext uri="{FF2B5EF4-FFF2-40B4-BE49-F238E27FC236}">
                <a16:creationId xmlns:a16="http://schemas.microsoft.com/office/drawing/2014/main" id="{DE742071-FB54-EE4C-9B27-DF02BFFF1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55" y="237069"/>
            <a:ext cx="9450090" cy="443198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Group 1</a:t>
            </a:r>
            <a:endParaRPr lang="en-US" sz="3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2" name="Table 7">
            <a:extLst>
              <a:ext uri="{FF2B5EF4-FFF2-40B4-BE49-F238E27FC236}">
                <a16:creationId xmlns:a16="http://schemas.microsoft.com/office/drawing/2014/main" id="{1FAD3B9A-8A05-0C45-8EC1-869E0E077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072911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7BF1E07C-9796-CA42-92B7-BA9CAC5203A3}"/>
              </a:ext>
            </a:extLst>
          </p:cNvPr>
          <p:cNvSpPr/>
          <p:nvPr/>
        </p:nvSpPr>
        <p:spPr>
          <a:xfrm>
            <a:off x="5919656" y="6253064"/>
            <a:ext cx="3840248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FCB0C71-BF5F-7A43-8A7A-C5A294F22948}"/>
              </a:ext>
            </a:extLst>
          </p:cNvPr>
          <p:cNvSpPr/>
          <p:nvPr/>
        </p:nvSpPr>
        <p:spPr>
          <a:xfrm>
            <a:off x="1950596" y="6244451"/>
            <a:ext cx="396906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6" name="Graphic 25" descr="User">
            <a:extLst>
              <a:ext uri="{FF2B5EF4-FFF2-40B4-BE49-F238E27FC236}">
                <a16:creationId xmlns:a16="http://schemas.microsoft.com/office/drawing/2014/main" id="{3DB6F27C-F536-E04F-8128-B6EFAF91D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5117" y="1882304"/>
            <a:ext cx="568378" cy="568378"/>
          </a:xfrm>
          <a:prstGeom prst="rect">
            <a:avLst/>
          </a:prstGeom>
        </p:spPr>
      </p:pic>
      <p:pic>
        <p:nvPicPr>
          <p:cNvPr id="28" name="Graphic 27" descr="Handshake">
            <a:extLst>
              <a:ext uri="{FF2B5EF4-FFF2-40B4-BE49-F238E27FC236}">
                <a16:creationId xmlns:a16="http://schemas.microsoft.com/office/drawing/2014/main" id="{212B9CC4-EF94-4247-89D7-5D9DC48ED6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59599" y="2648800"/>
            <a:ext cx="568377" cy="568377"/>
          </a:xfrm>
          <a:prstGeom prst="rect">
            <a:avLst/>
          </a:prstGeom>
        </p:spPr>
      </p:pic>
      <p:pic>
        <p:nvPicPr>
          <p:cNvPr id="30" name="Graphic 29" descr="Circles with arrows">
            <a:extLst>
              <a:ext uri="{FF2B5EF4-FFF2-40B4-BE49-F238E27FC236}">
                <a16:creationId xmlns:a16="http://schemas.microsoft.com/office/drawing/2014/main" id="{7BD32D96-B792-D44E-9DE1-A30C298CDF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15117" y="3429560"/>
            <a:ext cx="603103" cy="603103"/>
          </a:xfrm>
          <a:prstGeom prst="rect">
            <a:avLst/>
          </a:prstGeom>
        </p:spPr>
      </p:pic>
      <p:pic>
        <p:nvPicPr>
          <p:cNvPr id="32" name="Graphic 31" descr="Bar chart">
            <a:extLst>
              <a:ext uri="{FF2B5EF4-FFF2-40B4-BE49-F238E27FC236}">
                <a16:creationId xmlns:a16="http://schemas.microsoft.com/office/drawing/2014/main" id="{70607A1B-8A06-7C46-B80F-72E51718A2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59598" y="4229561"/>
            <a:ext cx="568378" cy="568378"/>
          </a:xfrm>
          <a:prstGeom prst="rect">
            <a:avLst/>
          </a:prstGeom>
        </p:spPr>
      </p:pic>
      <p:pic>
        <p:nvPicPr>
          <p:cNvPr id="34" name="Graphic 33" descr="Presentation with pie chart">
            <a:extLst>
              <a:ext uri="{FF2B5EF4-FFF2-40B4-BE49-F238E27FC236}">
                <a16:creationId xmlns:a16="http://schemas.microsoft.com/office/drawing/2014/main" id="{41F7AAC9-6D14-B241-B452-F70A026B942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59597" y="5017114"/>
            <a:ext cx="564895" cy="56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7283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347FD5A-13AC-4FD9-816D-6C2DF4CAC745}"/>
              </a:ext>
            </a:extLst>
          </p:cNvPr>
          <p:cNvSpPr txBox="1"/>
          <p:nvPr/>
        </p:nvSpPr>
        <p:spPr>
          <a:xfrm>
            <a:off x="93964" y="1143338"/>
            <a:ext cx="9561390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en-US" sz="2400" i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</a:t>
            </a:r>
            <a:r>
              <a:rPr lang="en-US" sz="2400" i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ce to buy, sell, rent, hire, share, meet, swap, discuss, find, serve, connect, give away, announce, work, collect, care, perform, learn, marvel, mentor, befriend, fall in love, and/or save the world</a:t>
            </a:r>
            <a:r>
              <a:rPr lang="en-US" sz="2400" i="1" dirty="0">
                <a:solidFill>
                  <a:srgbClr val="FEC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</a:t>
            </a:r>
            <a:endParaRPr lang="en-US" sz="2400" b="1" i="1" dirty="0">
              <a:solidFill>
                <a:srgbClr val="FEC00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7CF95E-7624-4ED1-B229-0D2BC807EC4D}"/>
              </a:ext>
            </a:extLst>
          </p:cNvPr>
          <p:cNvSpPr txBox="1"/>
          <p:nvPr/>
        </p:nvSpPr>
        <p:spPr>
          <a:xfrm>
            <a:off x="7405843" y="2437579"/>
            <a:ext cx="2381278" cy="2683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37157" tIns="18579" rIns="37157" bIns="1857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5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- Craigslist Official Website</a:t>
            </a:r>
            <a:endParaRPr lang="en-US" sz="150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FC0C78-2716-7545-8363-870A47020892}"/>
              </a:ext>
            </a:extLst>
          </p:cNvPr>
          <p:cNvSpPr/>
          <p:nvPr/>
        </p:nvSpPr>
        <p:spPr>
          <a:xfrm>
            <a:off x="1331407" y="3244057"/>
            <a:ext cx="2576346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0 million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ds posted monthl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AF8254-0B54-BA48-B1C2-800DA6E8F3F3}"/>
              </a:ext>
            </a:extLst>
          </p:cNvPr>
          <p:cNvSpPr/>
          <p:nvPr/>
        </p:nvSpPr>
        <p:spPr>
          <a:xfrm>
            <a:off x="5642208" y="3244057"/>
            <a:ext cx="2422458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3 billion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Estimated val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0CCAE17-BE04-D649-991B-ABF70038044D}"/>
              </a:ext>
            </a:extLst>
          </p:cNvPr>
          <p:cNvSpPr/>
          <p:nvPr/>
        </p:nvSpPr>
        <p:spPr>
          <a:xfrm>
            <a:off x="1345032" y="4770824"/>
            <a:ext cx="2576346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0 million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users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5F25D27-EB7E-0247-A0E0-01F302CBC5F9}"/>
              </a:ext>
            </a:extLst>
          </p:cNvPr>
          <p:cNvSpPr txBox="1">
            <a:spLocks/>
          </p:cNvSpPr>
          <p:nvPr/>
        </p:nvSpPr>
        <p:spPr>
          <a:xfrm>
            <a:off x="93964" y="329575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Client Introduc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BCEDBD-B297-CD44-8697-F03C3B76302C}"/>
              </a:ext>
            </a:extLst>
          </p:cNvPr>
          <p:cNvSpPr/>
          <p:nvPr/>
        </p:nvSpPr>
        <p:spPr>
          <a:xfrm>
            <a:off x="6035596" y="4776498"/>
            <a:ext cx="1315104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0</a:t>
            </a:r>
            <a:r>
              <a:rPr lang="en-US" sz="4000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employe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596E6D-DBCC-EF4D-8C9A-49BFBD573907}"/>
              </a:ext>
            </a:extLst>
          </p:cNvPr>
          <p:cNvSpPr/>
          <p:nvPr/>
        </p:nvSpPr>
        <p:spPr>
          <a:xfrm>
            <a:off x="316453" y="6594543"/>
            <a:ext cx="911641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company/craigslist/about/</a:t>
            </a:r>
            <a:endParaRPr lang="en-US" sz="5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5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pandedramblings.com/index.php/craigslist-statistics/</a:t>
            </a:r>
            <a:endParaRPr lang="en-US" sz="5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5" name="Table 7">
            <a:extLst>
              <a:ext uri="{FF2B5EF4-FFF2-40B4-BE49-F238E27FC236}">
                <a16:creationId xmlns:a16="http://schemas.microsoft.com/office/drawing/2014/main" id="{08E37328-CFFF-054C-853A-F8992C9779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4751727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396A5251-6FF6-0342-847D-2902026AB805}"/>
              </a:ext>
            </a:extLst>
          </p:cNvPr>
          <p:cNvSpPr/>
          <p:nvPr/>
        </p:nvSpPr>
        <p:spPr>
          <a:xfrm>
            <a:off x="5919656" y="6253064"/>
            <a:ext cx="3840248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2B04F3A-785F-B748-BF06-B6EDFC60F016}"/>
              </a:ext>
            </a:extLst>
          </p:cNvPr>
          <p:cNvSpPr/>
          <p:nvPr/>
        </p:nvSpPr>
        <p:spPr>
          <a:xfrm>
            <a:off x="1950596" y="6244451"/>
            <a:ext cx="396906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85461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356E68C-5C37-4E63-AD66-D292BF049235}"/>
              </a:ext>
            </a:extLst>
          </p:cNvPr>
          <p:cNvSpPr txBox="1"/>
          <p:nvPr/>
        </p:nvSpPr>
        <p:spPr>
          <a:xfrm>
            <a:off x="1434317" y="1812323"/>
            <a:ext cx="3132410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ussion Forum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97D99E-1673-48A6-A3FB-490D5EFA09A7}"/>
              </a:ext>
            </a:extLst>
          </p:cNvPr>
          <p:cNvSpPr txBox="1"/>
          <p:nvPr/>
        </p:nvSpPr>
        <p:spPr>
          <a:xfrm>
            <a:off x="1431303" y="2785866"/>
            <a:ext cx="165530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us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E48811-32C0-46D7-B609-94E2CDD55593}"/>
              </a:ext>
            </a:extLst>
          </p:cNvPr>
          <p:cNvSpPr txBox="1"/>
          <p:nvPr/>
        </p:nvSpPr>
        <p:spPr>
          <a:xfrm>
            <a:off x="7663374" y="1812323"/>
            <a:ext cx="133643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 Sa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DAE875-0A65-48AC-9AC4-82FADD8589A1}"/>
              </a:ext>
            </a:extLst>
          </p:cNvPr>
          <p:cNvSpPr txBox="1"/>
          <p:nvPr/>
        </p:nvSpPr>
        <p:spPr>
          <a:xfrm>
            <a:off x="7676267" y="2800145"/>
            <a:ext cx="1336431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5AA8F5-025B-44C9-BD72-83CF116E45AD}"/>
              </a:ext>
            </a:extLst>
          </p:cNvPr>
          <p:cNvSpPr txBox="1"/>
          <p:nvPr/>
        </p:nvSpPr>
        <p:spPr>
          <a:xfrm>
            <a:off x="7100668" y="5183367"/>
            <a:ext cx="136408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er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CF2F09-48FE-4CBC-9855-C3452EF73733}"/>
              </a:ext>
            </a:extLst>
          </p:cNvPr>
          <p:cNvSpPr txBox="1"/>
          <p:nvPr/>
        </p:nvSpPr>
        <p:spPr>
          <a:xfrm>
            <a:off x="7100668" y="4594066"/>
            <a:ext cx="82999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9AD26B-B764-4B10-B0C1-69542DA9E9FA}"/>
              </a:ext>
            </a:extLst>
          </p:cNvPr>
          <p:cNvGrpSpPr/>
          <p:nvPr/>
        </p:nvGrpSpPr>
        <p:grpSpPr>
          <a:xfrm>
            <a:off x="416494" y="4592612"/>
            <a:ext cx="5848040" cy="878572"/>
            <a:chOff x="416494" y="4592612"/>
            <a:chExt cx="5848040" cy="87857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2C5E198-67A8-40D5-8D77-620C424D4CE7}"/>
                </a:ext>
              </a:extLst>
            </p:cNvPr>
            <p:cNvSpPr txBox="1"/>
            <p:nvPr/>
          </p:nvSpPr>
          <p:spPr>
            <a:xfrm>
              <a:off x="426715" y="4594066"/>
              <a:ext cx="1388017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tiqu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01C9DC7-457F-40B1-A576-A5E88A062B98}"/>
                </a:ext>
              </a:extLst>
            </p:cNvPr>
            <p:cNvSpPr txBox="1"/>
            <p:nvPr/>
          </p:nvSpPr>
          <p:spPr>
            <a:xfrm>
              <a:off x="416494" y="5194185"/>
              <a:ext cx="1508764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urnitur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61E79F-8699-486B-9176-83F50F936F73}"/>
                </a:ext>
              </a:extLst>
            </p:cNvPr>
            <p:cNvSpPr txBox="1"/>
            <p:nvPr/>
          </p:nvSpPr>
          <p:spPr>
            <a:xfrm>
              <a:off x="2786010" y="5194185"/>
              <a:ext cx="811241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ol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AF80277-1023-406B-96DF-BA62B812282B}"/>
                </a:ext>
              </a:extLst>
            </p:cNvPr>
            <p:cNvSpPr txBox="1"/>
            <p:nvPr/>
          </p:nvSpPr>
          <p:spPr>
            <a:xfrm>
              <a:off x="4458003" y="5194185"/>
              <a:ext cx="1781913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usehold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E2FA7A1-8DFC-47EC-98CA-ACD3A216913E}"/>
                </a:ext>
              </a:extLst>
            </p:cNvPr>
            <p:cNvSpPr txBox="1"/>
            <p:nvPr/>
          </p:nvSpPr>
          <p:spPr>
            <a:xfrm>
              <a:off x="2482788" y="4594065"/>
              <a:ext cx="1807699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mputer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4EDCFE6-3639-46E4-AA2E-906C433E5D13}"/>
                </a:ext>
              </a:extLst>
            </p:cNvPr>
            <p:cNvSpPr txBox="1"/>
            <p:nvPr/>
          </p:nvSpPr>
          <p:spPr>
            <a:xfrm>
              <a:off x="4482621" y="4592612"/>
              <a:ext cx="1781913" cy="2769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sz="2000" dirty="0">
                  <a:solidFill>
                    <a:schemeClr val="accent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lectronics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43B0425-C649-4D10-8DF5-6B533ADCFD43}"/>
              </a:ext>
            </a:extLst>
          </p:cNvPr>
          <p:cNvSpPr txBox="1"/>
          <p:nvPr/>
        </p:nvSpPr>
        <p:spPr>
          <a:xfrm>
            <a:off x="333014" y="1099886"/>
            <a:ext cx="3835796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4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egori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68F28C-16B0-4B10-81D8-50BD7538400F}"/>
              </a:ext>
            </a:extLst>
          </p:cNvPr>
          <p:cNvSpPr txBox="1"/>
          <p:nvPr/>
        </p:nvSpPr>
        <p:spPr>
          <a:xfrm>
            <a:off x="333014" y="3811889"/>
            <a:ext cx="2513433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400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bcategories</a:t>
            </a:r>
            <a:endParaRPr lang="en-US" sz="2800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5FDA9CBF-B04B-4FC0-84BB-A0A1F6C25C71}"/>
              </a:ext>
            </a:extLst>
          </p:cNvPr>
          <p:cNvSpPr txBox="1">
            <a:spLocks/>
          </p:cNvSpPr>
          <p:nvPr/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Segment Selection</a:t>
            </a:r>
          </a:p>
        </p:txBody>
      </p:sp>
      <p:pic>
        <p:nvPicPr>
          <p:cNvPr id="50178" name="Picture 2" descr="https://static.thenounproject.com/png/1670075-200.png">
            <a:extLst>
              <a:ext uri="{FF2B5EF4-FFF2-40B4-BE49-F238E27FC236}">
                <a16:creationId xmlns:a16="http://schemas.microsoft.com/office/drawing/2014/main" id="{60DFF5C2-9523-4D86-B35D-5B117E178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977" y="1749632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0" name="Picture 4" descr="https://static.thenounproject.com/png/1657675-200.png">
            <a:extLst>
              <a:ext uri="{FF2B5EF4-FFF2-40B4-BE49-F238E27FC236}">
                <a16:creationId xmlns:a16="http://schemas.microsoft.com/office/drawing/2014/main" id="{18332E19-F5C3-4260-B418-2DA106E45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262" y="2595745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2" name="Picture 6" descr="https://static.thenounproject.com/png/1570214-200.png">
            <a:extLst>
              <a:ext uri="{FF2B5EF4-FFF2-40B4-BE49-F238E27FC236}">
                <a16:creationId xmlns:a16="http://schemas.microsoft.com/office/drawing/2014/main" id="{1D7C2A0B-9659-4521-9804-C81F3A2A4A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768" y="1607922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4" name="Picture 8" descr="https://static.thenounproject.com/png/2644352-200.png">
            <a:extLst>
              <a:ext uri="{FF2B5EF4-FFF2-40B4-BE49-F238E27FC236}">
                <a16:creationId xmlns:a16="http://schemas.microsoft.com/office/drawing/2014/main" id="{B158A8EF-777F-44D1-AFC6-0E3BB4485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768" y="2617672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1" name="Table 7">
            <a:extLst>
              <a:ext uri="{FF2B5EF4-FFF2-40B4-BE49-F238E27FC236}">
                <a16:creationId xmlns:a16="http://schemas.microsoft.com/office/drawing/2014/main" id="{E3CB4CCC-E2BC-5E49-A685-EAEC091C19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014559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9B1BC2E8-5532-EE49-B7B6-FC925C899E46}"/>
              </a:ext>
            </a:extLst>
          </p:cNvPr>
          <p:cNvSpPr/>
          <p:nvPr/>
        </p:nvSpPr>
        <p:spPr>
          <a:xfrm>
            <a:off x="3930869" y="6253064"/>
            <a:ext cx="5829035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E88E566-8486-2A4D-B6C7-6E610B2CD6B3}"/>
              </a:ext>
            </a:extLst>
          </p:cNvPr>
          <p:cNvSpPr/>
          <p:nvPr/>
        </p:nvSpPr>
        <p:spPr>
          <a:xfrm>
            <a:off x="24577" y="6236930"/>
            <a:ext cx="198290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B9381E-C785-4294-9C05-D3AABD69D38F}"/>
              </a:ext>
            </a:extLst>
          </p:cNvPr>
          <p:cNvSpPr txBox="1"/>
          <p:nvPr/>
        </p:nvSpPr>
        <p:spPr>
          <a:xfrm>
            <a:off x="7100668" y="5181913"/>
            <a:ext cx="1364082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solidFill>
                  <a:srgbClr val="0045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er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976433-8DC1-4FD2-9DD0-1B5B5AC0E767}"/>
              </a:ext>
            </a:extLst>
          </p:cNvPr>
          <p:cNvSpPr txBox="1"/>
          <p:nvPr/>
        </p:nvSpPr>
        <p:spPr>
          <a:xfrm>
            <a:off x="7100668" y="4592612"/>
            <a:ext cx="829993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b="1" dirty="0">
                <a:solidFill>
                  <a:srgbClr val="0045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s</a:t>
            </a:r>
          </a:p>
        </p:txBody>
      </p:sp>
    </p:spTree>
    <p:extLst>
      <p:ext uri="{BB962C8B-B14F-4D97-AF65-F5344CB8AC3E}">
        <p14:creationId xmlns:p14="http://schemas.microsoft.com/office/powerpoint/2010/main" val="36698168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27" grpId="0"/>
      <p:bldP spid="2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>
            <a:extLst>
              <a:ext uri="{FF2B5EF4-FFF2-40B4-BE49-F238E27FC236}">
                <a16:creationId xmlns:a16="http://schemas.microsoft.com/office/drawing/2014/main" id="{3A558914-6012-40CF-9929-D974740A9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495" y="3620927"/>
            <a:ext cx="711903" cy="711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2" name="Picture 4">
            <a:extLst>
              <a:ext uri="{FF2B5EF4-FFF2-40B4-BE49-F238E27FC236}">
                <a16:creationId xmlns:a16="http://schemas.microsoft.com/office/drawing/2014/main" id="{7EF088E7-7E87-420B-BF95-656FF6FB3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4115" y="3468127"/>
            <a:ext cx="987180" cy="987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BD37E26-2C14-4591-B8C6-9F58BCC14200}"/>
              </a:ext>
            </a:extLst>
          </p:cNvPr>
          <p:cNvSpPr txBox="1"/>
          <p:nvPr/>
        </p:nvSpPr>
        <p:spPr>
          <a:xfrm>
            <a:off x="907014" y="4455307"/>
            <a:ext cx="1735975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pportunity Los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69B487-F0B2-4A9E-9C0D-30E6A9E86854}"/>
              </a:ext>
            </a:extLst>
          </p:cNvPr>
          <p:cNvSpPr txBox="1"/>
          <p:nvPr/>
        </p:nvSpPr>
        <p:spPr>
          <a:xfrm>
            <a:off x="3771187" y="4444088"/>
            <a:ext cx="2507869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satisfied Customers</a:t>
            </a:r>
          </a:p>
        </p:txBody>
      </p:sp>
      <p:pic>
        <p:nvPicPr>
          <p:cNvPr id="48134" name="Picture 6">
            <a:extLst>
              <a:ext uri="{FF2B5EF4-FFF2-40B4-BE49-F238E27FC236}">
                <a16:creationId xmlns:a16="http://schemas.microsoft.com/office/drawing/2014/main" id="{5EC2FE6E-CE41-4A62-B5E7-FB01657F7A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254" y="3588991"/>
            <a:ext cx="855097" cy="85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FA0F0A8-12C3-4207-9AC3-C15D75278F40}"/>
              </a:ext>
            </a:extLst>
          </p:cNvPr>
          <p:cNvSpPr txBox="1"/>
          <p:nvPr/>
        </p:nvSpPr>
        <p:spPr>
          <a:xfrm>
            <a:off x="7156684" y="4444088"/>
            <a:ext cx="1643079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58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ual Labou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6F6495-F31B-4624-A15E-4A6FF15FB8D1}"/>
              </a:ext>
            </a:extLst>
          </p:cNvPr>
          <p:cNvGrpSpPr/>
          <p:nvPr/>
        </p:nvGrpSpPr>
        <p:grpSpPr>
          <a:xfrm>
            <a:off x="811310" y="1613190"/>
            <a:ext cx="7991766" cy="1097016"/>
            <a:chOff x="811310" y="1613190"/>
            <a:chExt cx="7991766" cy="109701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92D8BC0-D781-9F4C-AD86-7763032D620E}"/>
                </a:ext>
              </a:extLst>
            </p:cNvPr>
            <p:cNvSpPr txBox="1"/>
            <p:nvPr/>
          </p:nvSpPr>
          <p:spPr>
            <a:xfrm>
              <a:off x="811310" y="1614521"/>
              <a:ext cx="1542089" cy="109568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1488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5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ds In Car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long to General *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5C96CE4-A5E9-1F4E-AA9F-B0754DDACD0F}"/>
                </a:ext>
              </a:extLst>
            </p:cNvPr>
            <p:cNvSpPr txBox="1"/>
            <p:nvPr/>
          </p:nvSpPr>
          <p:spPr>
            <a:xfrm>
              <a:off x="4181620" y="1614520"/>
              <a:ext cx="1243930" cy="109568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1488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2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ds In General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long to Cars*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D63C589-778B-534B-A8F5-E2CBA464BF2D}"/>
                </a:ext>
              </a:extLst>
            </p:cNvPr>
            <p:cNvSpPr txBox="1"/>
            <p:nvPr/>
          </p:nvSpPr>
          <p:spPr>
            <a:xfrm>
              <a:off x="7159997" y="1613190"/>
              <a:ext cx="1643079" cy="109568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14884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7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isclassifi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ds in 2 subsections</a:t>
              </a:r>
            </a:p>
          </p:txBody>
        </p:sp>
        <p:pic>
          <p:nvPicPr>
            <p:cNvPr id="48136" name="Picture 8">
              <a:extLst>
                <a:ext uri="{FF2B5EF4-FFF2-40B4-BE49-F238E27FC236}">
                  <a16:creationId xmlns:a16="http://schemas.microsoft.com/office/drawing/2014/main" id="{30CB98C6-14DF-4892-BE60-8D94D23898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8706" y="1613190"/>
              <a:ext cx="539202" cy="539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138" name="Picture 10">
              <a:extLst>
                <a:ext uri="{FF2B5EF4-FFF2-40B4-BE49-F238E27FC236}">
                  <a16:creationId xmlns:a16="http://schemas.microsoft.com/office/drawing/2014/main" id="{AB215B30-C4B7-4C14-BDBC-8D8E436317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5488" y="1616919"/>
              <a:ext cx="539202" cy="539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D22A4C3-9E69-47CE-9C1E-E1A0BFA30E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79385"/>
            <a:ext cx="9344435" cy="369887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Effects at a Global Level</a:t>
            </a:r>
          </a:p>
          <a:p>
            <a:endParaRPr lang="en-IN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8" name="Table 7">
            <a:extLst>
              <a:ext uri="{FF2B5EF4-FFF2-40B4-BE49-F238E27FC236}">
                <a16:creationId xmlns:a16="http://schemas.microsoft.com/office/drawing/2014/main" id="{9FB53B7B-16DD-C845-AC38-53A734262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378402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1F4E7A67-70CB-C246-8D66-F5FB3972B491}"/>
              </a:ext>
            </a:extLst>
          </p:cNvPr>
          <p:cNvSpPr/>
          <p:nvPr/>
        </p:nvSpPr>
        <p:spPr>
          <a:xfrm>
            <a:off x="3930869" y="6253064"/>
            <a:ext cx="5829035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BFCCC42-7B64-2A4D-AB7B-0EE1383144B3}"/>
              </a:ext>
            </a:extLst>
          </p:cNvPr>
          <p:cNvSpPr/>
          <p:nvPr/>
        </p:nvSpPr>
        <p:spPr>
          <a:xfrm>
            <a:off x="24577" y="6236930"/>
            <a:ext cx="1982900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1188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EF360EE6-D257-46B5-BA8F-4DAAAC4E03FB}"/>
              </a:ext>
            </a:extLst>
          </p:cNvPr>
          <p:cNvGrpSpPr/>
          <p:nvPr/>
        </p:nvGrpSpPr>
        <p:grpSpPr>
          <a:xfrm>
            <a:off x="182337" y="1756486"/>
            <a:ext cx="2406979" cy="1857180"/>
            <a:chOff x="1009650" y="2102584"/>
            <a:chExt cx="3678465" cy="2838234"/>
          </a:xfrm>
          <a:solidFill>
            <a:srgbClr val="004584"/>
          </a:solidFill>
        </p:grpSpPr>
        <p:sp>
          <p:nvSpPr>
            <p:cNvPr id="56" name="Block Arc 55">
              <a:extLst>
                <a:ext uri="{FF2B5EF4-FFF2-40B4-BE49-F238E27FC236}">
                  <a16:creationId xmlns:a16="http://schemas.microsoft.com/office/drawing/2014/main" id="{A95634A4-9DAB-4CEF-AE01-D1C64788E582}"/>
                </a:ext>
              </a:extLst>
            </p:cNvPr>
            <p:cNvSpPr/>
            <p:nvPr/>
          </p:nvSpPr>
          <p:spPr>
            <a:xfrm>
              <a:off x="1009650" y="2102584"/>
              <a:ext cx="2838234" cy="2838234"/>
            </a:xfrm>
            <a:prstGeom prst="blockArc">
              <a:avLst>
                <a:gd name="adj1" fmla="val 21570102"/>
                <a:gd name="adj2" fmla="val 17581411"/>
                <a:gd name="adj3" fmla="val 10584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Arrow: Right 56">
              <a:extLst>
                <a:ext uri="{FF2B5EF4-FFF2-40B4-BE49-F238E27FC236}">
                  <a16:creationId xmlns:a16="http://schemas.microsoft.com/office/drawing/2014/main" id="{3441CF53-12BB-45D0-A88D-A68841E95B17}"/>
                </a:ext>
              </a:extLst>
            </p:cNvPr>
            <p:cNvSpPr/>
            <p:nvPr/>
          </p:nvSpPr>
          <p:spPr>
            <a:xfrm>
              <a:off x="3541486" y="3216901"/>
              <a:ext cx="1146629" cy="609600"/>
            </a:xfrm>
            <a:prstGeom prst="rightArrow">
              <a:avLst>
                <a:gd name="adj1" fmla="val 50000"/>
                <a:gd name="adj2" fmla="val 7381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A24CD02-53B1-496E-A876-E5D9DB154B86}"/>
              </a:ext>
            </a:extLst>
          </p:cNvPr>
          <p:cNvGrpSpPr/>
          <p:nvPr/>
        </p:nvGrpSpPr>
        <p:grpSpPr>
          <a:xfrm>
            <a:off x="2780394" y="1756486"/>
            <a:ext cx="2406979" cy="1857180"/>
            <a:chOff x="1009650" y="2102584"/>
            <a:chExt cx="3678465" cy="2838234"/>
          </a:xfrm>
          <a:solidFill>
            <a:srgbClr val="FFC000"/>
          </a:solidFill>
        </p:grpSpPr>
        <p:sp>
          <p:nvSpPr>
            <p:cNvPr id="59" name="Block Arc 58">
              <a:extLst>
                <a:ext uri="{FF2B5EF4-FFF2-40B4-BE49-F238E27FC236}">
                  <a16:creationId xmlns:a16="http://schemas.microsoft.com/office/drawing/2014/main" id="{B9782DF1-AE34-4DF3-A03B-B6FE4EF61647}"/>
                </a:ext>
              </a:extLst>
            </p:cNvPr>
            <p:cNvSpPr/>
            <p:nvPr/>
          </p:nvSpPr>
          <p:spPr>
            <a:xfrm>
              <a:off x="1009650" y="2102584"/>
              <a:ext cx="2838234" cy="2838234"/>
            </a:xfrm>
            <a:prstGeom prst="blockArc">
              <a:avLst>
                <a:gd name="adj1" fmla="val 21570102"/>
                <a:gd name="adj2" fmla="val 17581411"/>
                <a:gd name="adj3" fmla="val 10584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Arrow: Right 59">
              <a:extLst>
                <a:ext uri="{FF2B5EF4-FFF2-40B4-BE49-F238E27FC236}">
                  <a16:creationId xmlns:a16="http://schemas.microsoft.com/office/drawing/2014/main" id="{69E2BA99-E271-453E-A228-B1F1173A3449}"/>
                </a:ext>
              </a:extLst>
            </p:cNvPr>
            <p:cNvSpPr/>
            <p:nvPr/>
          </p:nvSpPr>
          <p:spPr>
            <a:xfrm>
              <a:off x="3541486" y="3216901"/>
              <a:ext cx="1146629" cy="609600"/>
            </a:xfrm>
            <a:prstGeom prst="rightArrow">
              <a:avLst>
                <a:gd name="adj1" fmla="val 50000"/>
                <a:gd name="adj2" fmla="val 7381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3A106F7-18BF-4F36-A1F2-2D66811AB3D3}"/>
              </a:ext>
            </a:extLst>
          </p:cNvPr>
          <p:cNvGrpSpPr/>
          <p:nvPr/>
        </p:nvGrpSpPr>
        <p:grpSpPr>
          <a:xfrm>
            <a:off x="5291365" y="1756486"/>
            <a:ext cx="2406979" cy="1857180"/>
            <a:chOff x="1009650" y="2102584"/>
            <a:chExt cx="3678465" cy="2838234"/>
          </a:xfrm>
          <a:solidFill>
            <a:srgbClr val="004584"/>
          </a:solidFill>
        </p:grpSpPr>
        <p:sp>
          <p:nvSpPr>
            <p:cNvPr id="62" name="Block Arc 61">
              <a:extLst>
                <a:ext uri="{FF2B5EF4-FFF2-40B4-BE49-F238E27FC236}">
                  <a16:creationId xmlns:a16="http://schemas.microsoft.com/office/drawing/2014/main" id="{27F9FE1F-AE6A-4DCD-AE01-FC2898AE43F2}"/>
                </a:ext>
              </a:extLst>
            </p:cNvPr>
            <p:cNvSpPr/>
            <p:nvPr/>
          </p:nvSpPr>
          <p:spPr>
            <a:xfrm>
              <a:off x="1009650" y="2102584"/>
              <a:ext cx="2838234" cy="2838234"/>
            </a:xfrm>
            <a:prstGeom prst="blockArc">
              <a:avLst>
                <a:gd name="adj1" fmla="val 21570102"/>
                <a:gd name="adj2" fmla="val 17581411"/>
                <a:gd name="adj3" fmla="val 10584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Arrow: Right 62">
              <a:extLst>
                <a:ext uri="{FF2B5EF4-FFF2-40B4-BE49-F238E27FC236}">
                  <a16:creationId xmlns:a16="http://schemas.microsoft.com/office/drawing/2014/main" id="{AA41A457-4D21-456F-8955-1A26FCEC51B3}"/>
                </a:ext>
              </a:extLst>
            </p:cNvPr>
            <p:cNvSpPr/>
            <p:nvPr/>
          </p:nvSpPr>
          <p:spPr>
            <a:xfrm>
              <a:off x="3541486" y="3216901"/>
              <a:ext cx="1146629" cy="609600"/>
            </a:xfrm>
            <a:prstGeom prst="rightArrow">
              <a:avLst>
                <a:gd name="adj1" fmla="val 50000"/>
                <a:gd name="adj2" fmla="val 7381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4" name="Block Arc 63">
            <a:extLst>
              <a:ext uri="{FF2B5EF4-FFF2-40B4-BE49-F238E27FC236}">
                <a16:creationId xmlns:a16="http://schemas.microsoft.com/office/drawing/2014/main" id="{6BEC9877-A5C4-4A45-A2FF-AE7C062414AE}"/>
              </a:ext>
            </a:extLst>
          </p:cNvPr>
          <p:cNvSpPr/>
          <p:nvPr/>
        </p:nvSpPr>
        <p:spPr>
          <a:xfrm>
            <a:off x="7918451" y="1756486"/>
            <a:ext cx="1857179" cy="1857180"/>
          </a:xfrm>
          <a:prstGeom prst="blockArc">
            <a:avLst>
              <a:gd name="adj1" fmla="val 17592716"/>
              <a:gd name="adj2" fmla="val 17581411"/>
              <a:gd name="adj3" fmla="val 10584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B0A1819-AC41-46C8-8AF1-270010AEDC33}"/>
              </a:ext>
            </a:extLst>
          </p:cNvPr>
          <p:cNvSpPr txBox="1"/>
          <p:nvPr/>
        </p:nvSpPr>
        <p:spPr>
          <a:xfrm>
            <a:off x="182337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1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5087AE1-58C9-4C0A-8D7A-881095C66CAD}"/>
              </a:ext>
            </a:extLst>
          </p:cNvPr>
          <p:cNvSpPr txBox="1"/>
          <p:nvPr/>
        </p:nvSpPr>
        <p:spPr>
          <a:xfrm>
            <a:off x="2809423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2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5812940-A48D-4C18-9A50-520E49EBD813}"/>
              </a:ext>
            </a:extLst>
          </p:cNvPr>
          <p:cNvSpPr txBox="1"/>
          <p:nvPr/>
        </p:nvSpPr>
        <p:spPr>
          <a:xfrm>
            <a:off x="5363937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3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E42504D-5DE5-4158-86B4-C805A549F91A}"/>
              </a:ext>
            </a:extLst>
          </p:cNvPr>
          <p:cNvSpPr txBox="1"/>
          <p:nvPr/>
        </p:nvSpPr>
        <p:spPr>
          <a:xfrm>
            <a:off x="7961994" y="2023356"/>
            <a:ext cx="1767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0" b="1" dirty="0">
                <a:solidFill>
                  <a:srgbClr val="282F39"/>
                </a:solidFill>
                <a:latin typeface="Open Sans" panose="020B0606030504020204" pitchFamily="34" charset="0"/>
              </a:rPr>
              <a:t>4</a:t>
            </a:r>
            <a:endParaRPr lang="en-GB" sz="8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9" name="Text Placeholder 16">
            <a:extLst>
              <a:ext uri="{FF2B5EF4-FFF2-40B4-BE49-F238E27FC236}">
                <a16:creationId xmlns:a16="http://schemas.microsoft.com/office/drawing/2014/main" id="{B08805A6-0934-4AFD-8E31-16EFB02AD299}"/>
              </a:ext>
            </a:extLst>
          </p:cNvPr>
          <p:cNvSpPr txBox="1">
            <a:spLocks/>
          </p:cNvSpPr>
          <p:nvPr/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Current Scenario</a:t>
            </a:r>
            <a:endParaRPr lang="en-IN" sz="3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2D5216-60E5-49C9-8E14-E4A0E427CFE8}"/>
              </a:ext>
            </a:extLst>
          </p:cNvPr>
          <p:cNvSpPr txBox="1"/>
          <p:nvPr/>
        </p:nvSpPr>
        <p:spPr>
          <a:xfrm>
            <a:off x="-51519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Seller post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n advertisemen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9B15B98-7499-42AB-AF3F-AB564CD20213}"/>
              </a:ext>
            </a:extLst>
          </p:cNvPr>
          <p:cNvSpPr txBox="1"/>
          <p:nvPr/>
        </p:nvSpPr>
        <p:spPr>
          <a:xfrm>
            <a:off x="2506924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Buyer raise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 a flag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1B3538E-9815-4F24-BA67-777151ED5D84}"/>
              </a:ext>
            </a:extLst>
          </p:cNvPr>
          <p:cNvSpPr txBox="1"/>
          <p:nvPr/>
        </p:nvSpPr>
        <p:spPr>
          <a:xfrm>
            <a:off x="5085469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Development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team fix the issu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7F69A7C-CB91-4819-B0DC-83015589B4E9}"/>
              </a:ext>
            </a:extLst>
          </p:cNvPr>
          <p:cNvSpPr txBox="1"/>
          <p:nvPr/>
        </p:nvSpPr>
        <p:spPr>
          <a:xfrm>
            <a:off x="7623945" y="3767270"/>
            <a:ext cx="2324889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Advertisement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b="1" dirty="0">
                <a:latin typeface="Segoe UI" panose="020B0502040204020203" pitchFamily="34" charset="0"/>
                <a:cs typeface="Segoe UI" panose="020B0502040204020203" pitchFamily="34" charset="0"/>
              </a:rPr>
              <a:t>is update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F220349-F280-4263-9D7C-16AE416B0BBB}"/>
              </a:ext>
            </a:extLst>
          </p:cNvPr>
          <p:cNvSpPr txBox="1"/>
          <p:nvPr/>
        </p:nvSpPr>
        <p:spPr>
          <a:xfrm>
            <a:off x="1950292" y="4913011"/>
            <a:ext cx="5897666" cy="42156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 dirty="0">
                <a:solidFill>
                  <a:srgbClr val="014884"/>
                </a:solidFill>
                <a:cs typeface="Arial" pitchFamily="34" charset="0"/>
              </a:rPr>
              <a:t>Identifying Problem after it reached our end user.</a:t>
            </a:r>
          </a:p>
        </p:txBody>
      </p:sp>
      <p:graphicFrame>
        <p:nvGraphicFramePr>
          <p:cNvPr id="23" name="Table 7">
            <a:extLst>
              <a:ext uri="{FF2B5EF4-FFF2-40B4-BE49-F238E27FC236}">
                <a16:creationId xmlns:a16="http://schemas.microsoft.com/office/drawing/2014/main" id="{91D657BE-0332-AF46-AB45-8B110747F8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258625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10D513E6-80F6-2D40-8253-5D2367524B52}"/>
              </a:ext>
            </a:extLst>
          </p:cNvPr>
          <p:cNvSpPr/>
          <p:nvPr/>
        </p:nvSpPr>
        <p:spPr>
          <a:xfrm>
            <a:off x="5854262" y="6253064"/>
            <a:ext cx="3905642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F222A13-0B00-684B-93F4-1E90CC355F1C}"/>
              </a:ext>
            </a:extLst>
          </p:cNvPr>
          <p:cNvSpPr/>
          <p:nvPr/>
        </p:nvSpPr>
        <p:spPr>
          <a:xfrm>
            <a:off x="24576" y="6236930"/>
            <a:ext cx="3905642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7481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/>
      <p:bldP spid="66" grpId="0"/>
      <p:bldP spid="67" grpId="0"/>
      <p:bldP spid="68" grpId="0"/>
      <p:bldP spid="21" grpId="0"/>
      <p:bldP spid="74" grpId="0"/>
      <p:bldP spid="75" grpId="0"/>
      <p:bldP spid="76" grpId="0"/>
      <p:bldP spid="7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58">
            <a:extLst>
              <a:ext uri="{FF2B5EF4-FFF2-40B4-BE49-F238E27FC236}">
                <a16:creationId xmlns:a16="http://schemas.microsoft.com/office/drawing/2014/main" id="{05CB407A-CD7E-004D-AB6C-9518658E5232}"/>
              </a:ext>
            </a:extLst>
          </p:cNvPr>
          <p:cNvGrpSpPr/>
          <p:nvPr/>
        </p:nvGrpSpPr>
        <p:grpSpPr>
          <a:xfrm>
            <a:off x="1300117" y="1088441"/>
            <a:ext cx="3037996" cy="912624"/>
            <a:chOff x="7174425" y="1354586"/>
            <a:chExt cx="2409492" cy="842423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91ECB6C-A345-6844-9958-BAB662138B93}"/>
                </a:ext>
              </a:extLst>
            </p:cNvPr>
            <p:cNvSpPr txBox="1"/>
            <p:nvPr/>
          </p:nvSpPr>
          <p:spPr>
            <a:xfrm>
              <a:off x="7174425" y="1600395"/>
              <a:ext cx="2409492" cy="5966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e scraped ads description of around 6000 ads from craigslist website from cars and general category.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8EFA935E-EBDD-4944-B650-8CC191AA69A7}"/>
                </a:ext>
              </a:extLst>
            </p:cNvPr>
            <p:cNvSpPr/>
            <p:nvPr/>
          </p:nvSpPr>
          <p:spPr>
            <a:xfrm>
              <a:off x="7174425" y="1354586"/>
              <a:ext cx="2118106" cy="2272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1117560"/>
              <a:r>
                <a:rPr lang="en-US" sz="1600" b="1" dirty="0">
                  <a:solidFill>
                    <a:srgbClr val="01488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crape data from Craigslist</a:t>
              </a:r>
            </a:p>
          </p:txBody>
        </p:sp>
      </p:grpSp>
      <p:grpSp>
        <p:nvGrpSpPr>
          <p:cNvPr id="67" name="Group 57">
            <a:extLst>
              <a:ext uri="{FF2B5EF4-FFF2-40B4-BE49-F238E27FC236}">
                <a16:creationId xmlns:a16="http://schemas.microsoft.com/office/drawing/2014/main" id="{AAD2389D-11AC-DC45-B31E-C1EBE50BA726}"/>
              </a:ext>
            </a:extLst>
          </p:cNvPr>
          <p:cNvGrpSpPr/>
          <p:nvPr/>
        </p:nvGrpSpPr>
        <p:grpSpPr>
          <a:xfrm>
            <a:off x="421545" y="1116188"/>
            <a:ext cx="816996" cy="861774"/>
            <a:chOff x="4224222" y="1313404"/>
            <a:chExt cx="686686" cy="691203"/>
          </a:xfrm>
        </p:grpSpPr>
        <p:sp>
          <p:nvSpPr>
            <p:cNvPr id="68" name="Oval 7">
              <a:extLst>
                <a:ext uri="{FF2B5EF4-FFF2-40B4-BE49-F238E27FC236}">
                  <a16:creationId xmlns:a16="http://schemas.microsoft.com/office/drawing/2014/main" id="{438BD463-59C7-7146-882F-8BE4EE6B5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4222" y="1313404"/>
              <a:ext cx="686686" cy="691203"/>
            </a:xfrm>
            <a:prstGeom prst="ellipse">
              <a:avLst/>
            </a:prstGeom>
            <a:solidFill>
              <a:srgbClr val="0148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0" name="Freeform 166">
              <a:extLst>
                <a:ext uri="{FF2B5EF4-FFF2-40B4-BE49-F238E27FC236}">
                  <a16:creationId xmlns:a16="http://schemas.microsoft.com/office/drawing/2014/main" id="{BBCEA07B-0564-A546-A7CA-F7487C38FD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9050" y="1469104"/>
              <a:ext cx="377030" cy="379802"/>
            </a:xfrm>
            <a:custGeom>
              <a:avLst/>
              <a:gdLst/>
              <a:ahLst/>
              <a:cxnLst>
                <a:cxn ang="0">
                  <a:pos x="1" y="42"/>
                </a:cxn>
                <a:cxn ang="0">
                  <a:pos x="1" y="40"/>
                </a:cxn>
                <a:cxn ang="0">
                  <a:pos x="14" y="41"/>
                </a:cxn>
                <a:cxn ang="0">
                  <a:pos x="30" y="19"/>
                </a:cxn>
                <a:cxn ang="0">
                  <a:pos x="17" y="8"/>
                </a:cxn>
                <a:cxn ang="0">
                  <a:pos x="9" y="14"/>
                </a:cxn>
                <a:cxn ang="0">
                  <a:pos x="9" y="19"/>
                </a:cxn>
                <a:cxn ang="0">
                  <a:pos x="18" y="39"/>
                </a:cxn>
                <a:cxn ang="0">
                  <a:pos x="4" y="24"/>
                </a:cxn>
                <a:cxn ang="0">
                  <a:pos x="4" y="9"/>
                </a:cxn>
                <a:cxn ang="0">
                  <a:pos x="17" y="0"/>
                </a:cxn>
                <a:cxn ang="0">
                  <a:pos x="37" y="16"/>
                </a:cxn>
                <a:cxn ang="0">
                  <a:pos x="30" y="19"/>
                </a:cxn>
                <a:cxn ang="0">
                  <a:pos x="6" y="58"/>
                </a:cxn>
                <a:cxn ang="0">
                  <a:pos x="5" y="56"/>
                </a:cxn>
                <a:cxn ang="0">
                  <a:pos x="16" y="46"/>
                </a:cxn>
                <a:cxn ang="0">
                  <a:pos x="7" y="58"/>
                </a:cxn>
                <a:cxn ang="0">
                  <a:pos x="22" y="63"/>
                </a:cxn>
                <a:cxn ang="0">
                  <a:pos x="20" y="49"/>
                </a:cxn>
                <a:cxn ang="0">
                  <a:pos x="23" y="49"/>
                </a:cxn>
                <a:cxn ang="0">
                  <a:pos x="59" y="54"/>
                </a:cxn>
                <a:cxn ang="0">
                  <a:pos x="46" y="62"/>
                </a:cxn>
                <a:cxn ang="0">
                  <a:pos x="25" y="46"/>
                </a:cxn>
                <a:cxn ang="0">
                  <a:pos x="33" y="43"/>
                </a:cxn>
                <a:cxn ang="0">
                  <a:pos x="48" y="54"/>
                </a:cxn>
                <a:cxn ang="0">
                  <a:pos x="55" y="46"/>
                </a:cxn>
                <a:cxn ang="0">
                  <a:pos x="44" y="33"/>
                </a:cxn>
                <a:cxn ang="0">
                  <a:pos x="46" y="25"/>
                </a:cxn>
                <a:cxn ang="0">
                  <a:pos x="62" y="46"/>
                </a:cxn>
                <a:cxn ang="0">
                  <a:pos x="42" y="13"/>
                </a:cxn>
                <a:cxn ang="0">
                  <a:pos x="40" y="13"/>
                </a:cxn>
                <a:cxn ang="0">
                  <a:pos x="41" y="0"/>
                </a:cxn>
                <a:cxn ang="0">
                  <a:pos x="42" y="13"/>
                </a:cxn>
                <a:cxn ang="0">
                  <a:pos x="47" y="17"/>
                </a:cxn>
                <a:cxn ang="0">
                  <a:pos x="46" y="15"/>
                </a:cxn>
                <a:cxn ang="0">
                  <a:pos x="58" y="5"/>
                </a:cxn>
                <a:cxn ang="0">
                  <a:pos x="48" y="16"/>
                </a:cxn>
                <a:cxn ang="0">
                  <a:pos x="50" y="23"/>
                </a:cxn>
                <a:cxn ang="0">
                  <a:pos x="50" y="20"/>
                </a:cxn>
                <a:cxn ang="0">
                  <a:pos x="63" y="22"/>
                </a:cxn>
              </a:cxnLst>
              <a:rect l="0" t="0" r="r" b="b"/>
              <a:pathLst>
                <a:path w="63" h="63">
                  <a:moveTo>
                    <a:pt x="13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1"/>
                  </a:cubicBezTo>
                  <a:cubicBezTo>
                    <a:pt x="0" y="40"/>
                    <a:pt x="0" y="40"/>
                    <a:pt x="1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2"/>
                    <a:pt x="14" y="42"/>
                    <a:pt x="13" y="42"/>
                  </a:cubicBezTo>
                  <a:close/>
                  <a:moveTo>
                    <a:pt x="30" y="19"/>
                  </a:move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8" y="8"/>
                    <a:pt x="17" y="8"/>
                  </a:cubicBezTo>
                  <a:cubicBezTo>
                    <a:pt x="16" y="8"/>
                    <a:pt x="15" y="8"/>
                    <a:pt x="14" y="9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5"/>
                    <a:pt x="8" y="16"/>
                    <a:pt x="8" y="17"/>
                  </a:cubicBezTo>
                  <a:cubicBezTo>
                    <a:pt x="8" y="18"/>
                    <a:pt x="8" y="19"/>
                    <a:pt x="9" y="19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8"/>
                    <a:pt x="17" y="38"/>
                    <a:pt x="16" y="37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14"/>
                    <a:pt x="2" y="11"/>
                    <a:pt x="4" y="9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1"/>
                    <a:pt x="14" y="0"/>
                    <a:pt x="17" y="0"/>
                  </a:cubicBezTo>
                  <a:cubicBezTo>
                    <a:pt x="20" y="0"/>
                    <a:pt x="23" y="1"/>
                    <a:pt x="25" y="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7"/>
                    <a:pt x="38" y="18"/>
                    <a:pt x="39" y="18"/>
                  </a:cubicBezTo>
                  <a:lnTo>
                    <a:pt x="30" y="19"/>
                  </a:lnTo>
                  <a:close/>
                  <a:moveTo>
                    <a:pt x="7" y="58"/>
                  </a:move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5" y="58"/>
                    <a:pt x="5" y="58"/>
                  </a:cubicBezTo>
                  <a:cubicBezTo>
                    <a:pt x="5" y="57"/>
                    <a:pt x="5" y="56"/>
                    <a:pt x="5" y="5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6" y="46"/>
                    <a:pt x="16" y="46"/>
                  </a:cubicBezTo>
                  <a:cubicBezTo>
                    <a:pt x="17" y="47"/>
                    <a:pt x="17" y="47"/>
                    <a:pt x="16" y="48"/>
                  </a:cubicBezTo>
                  <a:lnTo>
                    <a:pt x="7" y="58"/>
                  </a:lnTo>
                  <a:close/>
                  <a:moveTo>
                    <a:pt x="23" y="62"/>
                  </a:moveTo>
                  <a:cubicBezTo>
                    <a:pt x="23" y="62"/>
                    <a:pt x="22" y="63"/>
                    <a:pt x="22" y="63"/>
                  </a:cubicBezTo>
                  <a:cubicBezTo>
                    <a:pt x="21" y="63"/>
                    <a:pt x="20" y="62"/>
                    <a:pt x="20" y="62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1" y="48"/>
                    <a:pt x="22" y="48"/>
                  </a:cubicBezTo>
                  <a:cubicBezTo>
                    <a:pt x="22" y="48"/>
                    <a:pt x="23" y="49"/>
                    <a:pt x="23" y="49"/>
                  </a:cubicBezTo>
                  <a:lnTo>
                    <a:pt x="23" y="62"/>
                  </a:lnTo>
                  <a:close/>
                  <a:moveTo>
                    <a:pt x="59" y="54"/>
                  </a:moveTo>
                  <a:cubicBezTo>
                    <a:pt x="54" y="59"/>
                    <a:pt x="54" y="59"/>
                    <a:pt x="54" y="59"/>
                  </a:cubicBezTo>
                  <a:cubicBezTo>
                    <a:pt x="51" y="61"/>
                    <a:pt x="49" y="62"/>
                    <a:pt x="46" y="62"/>
                  </a:cubicBezTo>
                  <a:cubicBezTo>
                    <a:pt x="43" y="62"/>
                    <a:pt x="40" y="61"/>
                    <a:pt x="38" y="59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5"/>
                    <a:pt x="24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5" y="55"/>
                    <a:pt x="47" y="55"/>
                    <a:pt x="48" y="54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8"/>
                    <a:pt x="55" y="47"/>
                    <a:pt x="55" y="46"/>
                  </a:cubicBezTo>
                  <a:cubicBezTo>
                    <a:pt x="55" y="45"/>
                    <a:pt x="55" y="44"/>
                    <a:pt x="54" y="4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6" y="25"/>
                    <a:pt x="46" y="25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61" y="40"/>
                    <a:pt x="62" y="43"/>
                    <a:pt x="62" y="46"/>
                  </a:cubicBezTo>
                  <a:cubicBezTo>
                    <a:pt x="62" y="49"/>
                    <a:pt x="61" y="52"/>
                    <a:pt x="59" y="54"/>
                  </a:cubicBezTo>
                  <a:close/>
                  <a:moveTo>
                    <a:pt x="42" y="13"/>
                  </a:moveTo>
                  <a:cubicBezTo>
                    <a:pt x="42" y="14"/>
                    <a:pt x="42" y="14"/>
                    <a:pt x="41" y="14"/>
                  </a:cubicBezTo>
                  <a:cubicBezTo>
                    <a:pt x="40" y="14"/>
                    <a:pt x="40" y="14"/>
                    <a:pt x="40" y="13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0"/>
                    <a:pt x="40" y="0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lnTo>
                    <a:pt x="42" y="13"/>
                  </a:lnTo>
                  <a:close/>
                  <a:moveTo>
                    <a:pt x="48" y="16"/>
                  </a:moveTo>
                  <a:cubicBezTo>
                    <a:pt x="48" y="17"/>
                    <a:pt x="47" y="17"/>
                    <a:pt x="47" y="17"/>
                  </a:cubicBezTo>
                  <a:cubicBezTo>
                    <a:pt x="47" y="17"/>
                    <a:pt x="47" y="17"/>
                    <a:pt x="46" y="16"/>
                  </a:cubicBezTo>
                  <a:cubicBezTo>
                    <a:pt x="46" y="16"/>
                    <a:pt x="46" y="15"/>
                    <a:pt x="46" y="1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4"/>
                    <a:pt x="57" y="4"/>
                    <a:pt x="58" y="5"/>
                  </a:cubicBezTo>
                  <a:cubicBezTo>
                    <a:pt x="58" y="5"/>
                    <a:pt x="58" y="6"/>
                    <a:pt x="58" y="7"/>
                  </a:cubicBezTo>
                  <a:lnTo>
                    <a:pt x="48" y="16"/>
                  </a:lnTo>
                  <a:close/>
                  <a:moveTo>
                    <a:pt x="62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49" y="23"/>
                    <a:pt x="48" y="22"/>
                    <a:pt x="48" y="22"/>
                  </a:cubicBezTo>
                  <a:cubicBezTo>
                    <a:pt x="48" y="21"/>
                    <a:pt x="49" y="20"/>
                    <a:pt x="50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1"/>
                    <a:pt x="63" y="22"/>
                  </a:cubicBezTo>
                  <a:cubicBezTo>
                    <a:pt x="63" y="22"/>
                    <a:pt x="62" y="23"/>
                    <a:pt x="62" y="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1" name="Group 60">
            <a:extLst>
              <a:ext uri="{FF2B5EF4-FFF2-40B4-BE49-F238E27FC236}">
                <a16:creationId xmlns:a16="http://schemas.microsoft.com/office/drawing/2014/main" id="{3F43CAAD-E925-8B47-BCDF-77D3020D0E23}"/>
              </a:ext>
            </a:extLst>
          </p:cNvPr>
          <p:cNvGrpSpPr/>
          <p:nvPr/>
        </p:nvGrpSpPr>
        <p:grpSpPr>
          <a:xfrm>
            <a:off x="8605883" y="960015"/>
            <a:ext cx="872059" cy="861774"/>
            <a:chOff x="5061496" y="2167244"/>
            <a:chExt cx="688192" cy="686686"/>
          </a:xfrm>
        </p:grpSpPr>
        <p:sp>
          <p:nvSpPr>
            <p:cNvPr id="72" name="Oval 9">
              <a:extLst>
                <a:ext uri="{FF2B5EF4-FFF2-40B4-BE49-F238E27FC236}">
                  <a16:creationId xmlns:a16="http://schemas.microsoft.com/office/drawing/2014/main" id="{C9EE2795-2421-B04B-BB9E-FC34CFF88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496" y="2167244"/>
              <a:ext cx="688192" cy="686686"/>
            </a:xfrm>
            <a:prstGeom prst="ellipse">
              <a:avLst/>
            </a:prstGeom>
            <a:solidFill>
              <a:srgbClr val="FEC0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Freeform 40">
              <a:extLst>
                <a:ext uri="{FF2B5EF4-FFF2-40B4-BE49-F238E27FC236}">
                  <a16:creationId xmlns:a16="http://schemas.microsoft.com/office/drawing/2014/main" id="{83B283DA-51D0-DA4E-A708-F70403BD07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5925" y="2329599"/>
              <a:ext cx="359334" cy="361976"/>
            </a:xfrm>
            <a:custGeom>
              <a:avLst/>
              <a:gdLst/>
              <a:ahLst/>
              <a:cxnLst>
                <a:cxn ang="0">
                  <a:pos x="63" y="43"/>
                </a:cxn>
                <a:cxn ang="0">
                  <a:pos x="60" y="48"/>
                </a:cxn>
                <a:cxn ang="0">
                  <a:pos x="34" y="62"/>
                </a:cxn>
                <a:cxn ang="0">
                  <a:pos x="31" y="63"/>
                </a:cxn>
                <a:cxn ang="0">
                  <a:pos x="29" y="62"/>
                </a:cxn>
                <a:cxn ang="0">
                  <a:pos x="2" y="48"/>
                </a:cxn>
                <a:cxn ang="0">
                  <a:pos x="0" y="43"/>
                </a:cxn>
                <a:cxn ang="0">
                  <a:pos x="0" y="14"/>
                </a:cxn>
                <a:cxn ang="0">
                  <a:pos x="3" y="10"/>
                </a:cxn>
                <a:cxn ang="0">
                  <a:pos x="30" y="0"/>
                </a:cxn>
                <a:cxn ang="0">
                  <a:pos x="31" y="0"/>
                </a:cxn>
                <a:cxn ang="0">
                  <a:pos x="33" y="0"/>
                </a:cxn>
                <a:cxn ang="0">
                  <a:pos x="60" y="10"/>
                </a:cxn>
                <a:cxn ang="0">
                  <a:pos x="63" y="14"/>
                </a:cxn>
                <a:cxn ang="0">
                  <a:pos x="63" y="43"/>
                </a:cxn>
                <a:cxn ang="0">
                  <a:pos x="58" y="14"/>
                </a:cxn>
                <a:cxn ang="0">
                  <a:pos x="31" y="4"/>
                </a:cxn>
                <a:cxn ang="0">
                  <a:pos x="5" y="14"/>
                </a:cxn>
                <a:cxn ang="0">
                  <a:pos x="31" y="24"/>
                </a:cxn>
                <a:cxn ang="0">
                  <a:pos x="58" y="14"/>
                </a:cxn>
                <a:cxn ang="0">
                  <a:pos x="58" y="43"/>
                </a:cxn>
                <a:cxn ang="0">
                  <a:pos x="58" y="19"/>
                </a:cxn>
                <a:cxn ang="0">
                  <a:pos x="34" y="28"/>
                </a:cxn>
                <a:cxn ang="0">
                  <a:pos x="34" y="57"/>
                </a:cxn>
                <a:cxn ang="0">
                  <a:pos x="58" y="43"/>
                </a:cxn>
              </a:cxnLst>
              <a:rect l="0" t="0" r="r" b="b"/>
              <a:pathLst>
                <a:path w="63" h="63">
                  <a:moveTo>
                    <a:pt x="63" y="43"/>
                  </a:moveTo>
                  <a:cubicBezTo>
                    <a:pt x="63" y="45"/>
                    <a:pt x="62" y="47"/>
                    <a:pt x="60" y="48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3" y="63"/>
                    <a:pt x="32" y="63"/>
                    <a:pt x="31" y="63"/>
                  </a:cubicBezTo>
                  <a:cubicBezTo>
                    <a:pt x="31" y="63"/>
                    <a:pt x="30" y="63"/>
                    <a:pt x="29" y="62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7"/>
                    <a:pt x="0" y="45"/>
                    <a:pt x="0" y="4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1" y="10"/>
                    <a:pt x="3" y="1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0"/>
                    <a:pt x="31" y="0"/>
                  </a:cubicBezTo>
                  <a:cubicBezTo>
                    <a:pt x="32" y="0"/>
                    <a:pt x="32" y="0"/>
                    <a:pt x="33" y="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2" y="10"/>
                    <a:pt x="63" y="12"/>
                    <a:pt x="63" y="14"/>
                  </a:cubicBezTo>
                  <a:lnTo>
                    <a:pt x="63" y="43"/>
                  </a:lnTo>
                  <a:close/>
                  <a:moveTo>
                    <a:pt x="58" y="14"/>
                  </a:moveTo>
                  <a:cubicBezTo>
                    <a:pt x="31" y="4"/>
                    <a:pt x="31" y="4"/>
                    <a:pt x="31" y="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1" y="24"/>
                    <a:pt x="31" y="24"/>
                    <a:pt x="31" y="24"/>
                  </a:cubicBezTo>
                  <a:lnTo>
                    <a:pt x="58" y="14"/>
                  </a:lnTo>
                  <a:close/>
                  <a:moveTo>
                    <a:pt x="58" y="43"/>
                  </a:moveTo>
                  <a:cubicBezTo>
                    <a:pt x="58" y="19"/>
                    <a:pt x="58" y="19"/>
                    <a:pt x="58" y="19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58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5" name="Group 72">
            <a:extLst>
              <a:ext uri="{FF2B5EF4-FFF2-40B4-BE49-F238E27FC236}">
                <a16:creationId xmlns:a16="http://schemas.microsoft.com/office/drawing/2014/main" id="{89FA5032-F6E5-8F4D-BF86-A961FB09C071}"/>
              </a:ext>
            </a:extLst>
          </p:cNvPr>
          <p:cNvGrpSpPr/>
          <p:nvPr/>
        </p:nvGrpSpPr>
        <p:grpSpPr>
          <a:xfrm>
            <a:off x="8474616" y="4219380"/>
            <a:ext cx="925676" cy="865344"/>
            <a:chOff x="2545155" y="2990965"/>
            <a:chExt cx="686686" cy="691203"/>
          </a:xfrm>
        </p:grpSpPr>
        <p:sp>
          <p:nvSpPr>
            <p:cNvPr id="80" name="Oval 8">
              <a:extLst>
                <a:ext uri="{FF2B5EF4-FFF2-40B4-BE49-F238E27FC236}">
                  <a16:creationId xmlns:a16="http://schemas.microsoft.com/office/drawing/2014/main" id="{2457ADD5-85FA-F546-8BE1-6312DB2F01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5155" y="2990965"/>
              <a:ext cx="686686" cy="691203"/>
            </a:xfrm>
            <a:prstGeom prst="ellipse">
              <a:avLst/>
            </a:prstGeom>
            <a:solidFill>
              <a:srgbClr val="0148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Freeform 107">
              <a:extLst>
                <a:ext uri="{FF2B5EF4-FFF2-40B4-BE49-F238E27FC236}">
                  <a16:creationId xmlns:a16="http://schemas.microsoft.com/office/drawing/2014/main" id="{45C0CA37-0658-A948-972C-FFECCACE3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7700" y="3153204"/>
              <a:ext cx="361596" cy="366725"/>
            </a:xfrm>
            <a:custGeom>
              <a:avLst/>
              <a:gdLst/>
              <a:ahLst/>
              <a:cxnLst>
                <a:cxn ang="0">
                  <a:pos x="64" y="14"/>
                </a:cxn>
                <a:cxn ang="0">
                  <a:pos x="12" y="65"/>
                </a:cxn>
                <a:cxn ang="0">
                  <a:pos x="10" y="66"/>
                </a:cxn>
                <a:cxn ang="0">
                  <a:pos x="8" y="65"/>
                </a:cxn>
                <a:cxn ang="0">
                  <a:pos x="0" y="57"/>
                </a:cxn>
                <a:cxn ang="0">
                  <a:pos x="0" y="56"/>
                </a:cxn>
                <a:cxn ang="0">
                  <a:pos x="0" y="54"/>
                </a:cxn>
                <a:cxn ang="0">
                  <a:pos x="52" y="2"/>
                </a:cxn>
                <a:cxn ang="0">
                  <a:pos x="54" y="1"/>
                </a:cxn>
                <a:cxn ang="0">
                  <a:pos x="56" y="2"/>
                </a:cxn>
                <a:cxn ang="0">
                  <a:pos x="64" y="10"/>
                </a:cxn>
                <a:cxn ang="0">
                  <a:pos x="64" y="12"/>
                </a:cxn>
                <a:cxn ang="0">
                  <a:pos x="64" y="14"/>
                </a:cxn>
                <a:cxn ang="0">
                  <a:pos x="14" y="5"/>
                </a:cxn>
                <a:cxn ang="0">
                  <a:pos x="10" y="7"/>
                </a:cxn>
                <a:cxn ang="0">
                  <a:pos x="9" y="11"/>
                </a:cxn>
                <a:cxn ang="0">
                  <a:pos x="8" y="7"/>
                </a:cxn>
                <a:cxn ang="0">
                  <a:pos x="4" y="5"/>
                </a:cxn>
                <a:cxn ang="0">
                  <a:pos x="8" y="4"/>
                </a:cxn>
                <a:cxn ang="0">
                  <a:pos x="9" y="0"/>
                </a:cxn>
                <a:cxn ang="0">
                  <a:pos x="10" y="4"/>
                </a:cxn>
                <a:cxn ang="0">
                  <a:pos x="14" y="5"/>
                </a:cxn>
                <a:cxn ang="0">
                  <a:pos x="32" y="13"/>
                </a:cxn>
                <a:cxn ang="0">
                  <a:pos x="24" y="16"/>
                </a:cxn>
                <a:cxn ang="0">
                  <a:pos x="22" y="23"/>
                </a:cxn>
                <a:cxn ang="0">
                  <a:pos x="19" y="16"/>
                </a:cxn>
                <a:cxn ang="0">
                  <a:pos x="11" y="13"/>
                </a:cxn>
                <a:cxn ang="0">
                  <a:pos x="19" y="11"/>
                </a:cxn>
                <a:cxn ang="0">
                  <a:pos x="22" y="3"/>
                </a:cxn>
                <a:cxn ang="0">
                  <a:pos x="24" y="11"/>
                </a:cxn>
                <a:cxn ang="0">
                  <a:pos x="32" y="13"/>
                </a:cxn>
                <a:cxn ang="0">
                  <a:pos x="40" y="5"/>
                </a:cxn>
                <a:cxn ang="0">
                  <a:pos x="36" y="7"/>
                </a:cxn>
                <a:cxn ang="0">
                  <a:pos x="34" y="11"/>
                </a:cxn>
                <a:cxn ang="0">
                  <a:pos x="33" y="7"/>
                </a:cxn>
                <a:cxn ang="0">
                  <a:pos x="29" y="5"/>
                </a:cxn>
                <a:cxn ang="0">
                  <a:pos x="33" y="4"/>
                </a:cxn>
                <a:cxn ang="0">
                  <a:pos x="34" y="0"/>
                </a:cxn>
                <a:cxn ang="0">
                  <a:pos x="36" y="4"/>
                </a:cxn>
                <a:cxn ang="0">
                  <a:pos x="40" y="5"/>
                </a:cxn>
                <a:cxn ang="0">
                  <a:pos x="58" y="12"/>
                </a:cxn>
                <a:cxn ang="0">
                  <a:pos x="54" y="8"/>
                </a:cxn>
                <a:cxn ang="0">
                  <a:pos x="42" y="19"/>
                </a:cxn>
                <a:cxn ang="0">
                  <a:pos x="46" y="24"/>
                </a:cxn>
                <a:cxn ang="0">
                  <a:pos x="58" y="12"/>
                </a:cxn>
                <a:cxn ang="0">
                  <a:pos x="65" y="31"/>
                </a:cxn>
                <a:cxn ang="0">
                  <a:pos x="61" y="32"/>
                </a:cxn>
                <a:cxn ang="0">
                  <a:pos x="60" y="36"/>
                </a:cxn>
                <a:cxn ang="0">
                  <a:pos x="59" y="32"/>
                </a:cxn>
                <a:cxn ang="0">
                  <a:pos x="55" y="31"/>
                </a:cxn>
                <a:cxn ang="0">
                  <a:pos x="59" y="30"/>
                </a:cxn>
                <a:cxn ang="0">
                  <a:pos x="60" y="26"/>
                </a:cxn>
                <a:cxn ang="0">
                  <a:pos x="61" y="30"/>
                </a:cxn>
                <a:cxn ang="0">
                  <a:pos x="65" y="31"/>
                </a:cxn>
              </a:cxnLst>
              <a:rect l="0" t="0" r="r" b="b"/>
              <a:pathLst>
                <a:path w="65" h="66">
                  <a:moveTo>
                    <a:pt x="64" y="14"/>
                  </a:moveTo>
                  <a:cubicBezTo>
                    <a:pt x="12" y="65"/>
                    <a:pt x="12" y="65"/>
                    <a:pt x="12" y="65"/>
                  </a:cubicBezTo>
                  <a:cubicBezTo>
                    <a:pt x="11" y="66"/>
                    <a:pt x="11" y="66"/>
                    <a:pt x="10" y="66"/>
                  </a:cubicBezTo>
                  <a:cubicBezTo>
                    <a:pt x="9" y="66"/>
                    <a:pt x="9" y="66"/>
                    <a:pt x="8" y="6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7"/>
                    <a:pt x="0" y="56"/>
                    <a:pt x="0" y="56"/>
                  </a:cubicBezTo>
                  <a:cubicBezTo>
                    <a:pt x="0" y="55"/>
                    <a:pt x="0" y="54"/>
                    <a:pt x="0" y="54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2"/>
                    <a:pt x="53" y="1"/>
                    <a:pt x="54" y="1"/>
                  </a:cubicBezTo>
                  <a:cubicBezTo>
                    <a:pt x="54" y="1"/>
                    <a:pt x="55" y="2"/>
                    <a:pt x="56" y="2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1"/>
                    <a:pt x="64" y="11"/>
                    <a:pt x="64" y="12"/>
                  </a:cubicBezTo>
                  <a:cubicBezTo>
                    <a:pt x="64" y="13"/>
                    <a:pt x="64" y="13"/>
                    <a:pt x="64" y="14"/>
                  </a:cubicBezTo>
                  <a:close/>
                  <a:moveTo>
                    <a:pt x="14" y="5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4"/>
                    <a:pt x="10" y="4"/>
                    <a:pt x="10" y="4"/>
                  </a:cubicBezTo>
                  <a:lnTo>
                    <a:pt x="14" y="5"/>
                  </a:lnTo>
                  <a:close/>
                  <a:moveTo>
                    <a:pt x="32" y="13"/>
                  </a:moveTo>
                  <a:cubicBezTo>
                    <a:pt x="24" y="16"/>
                    <a:pt x="24" y="16"/>
                    <a:pt x="24" y="16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32" y="13"/>
                  </a:lnTo>
                  <a:close/>
                  <a:moveTo>
                    <a:pt x="40" y="5"/>
                  </a:moveTo>
                  <a:cubicBezTo>
                    <a:pt x="36" y="7"/>
                    <a:pt x="36" y="7"/>
                    <a:pt x="36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4"/>
                    <a:pt x="36" y="4"/>
                    <a:pt x="36" y="4"/>
                  </a:cubicBezTo>
                  <a:lnTo>
                    <a:pt x="40" y="5"/>
                  </a:lnTo>
                  <a:close/>
                  <a:moveTo>
                    <a:pt x="58" y="12"/>
                  </a:moveTo>
                  <a:cubicBezTo>
                    <a:pt x="54" y="8"/>
                    <a:pt x="54" y="8"/>
                    <a:pt x="54" y="8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6" y="24"/>
                    <a:pt x="46" y="24"/>
                    <a:pt x="46" y="24"/>
                  </a:cubicBezTo>
                  <a:lnTo>
                    <a:pt x="58" y="12"/>
                  </a:lnTo>
                  <a:close/>
                  <a:moveTo>
                    <a:pt x="65" y="31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1" y="30"/>
                    <a:pt x="61" y="30"/>
                    <a:pt x="61" y="30"/>
                  </a:cubicBezTo>
                  <a:lnTo>
                    <a:pt x="65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82" name="Group 89">
            <a:extLst>
              <a:ext uri="{FF2B5EF4-FFF2-40B4-BE49-F238E27FC236}">
                <a16:creationId xmlns:a16="http://schemas.microsoft.com/office/drawing/2014/main" id="{E9FB9C9A-A1E9-134E-A679-B71BAD1CA4CA}"/>
              </a:ext>
            </a:extLst>
          </p:cNvPr>
          <p:cNvGrpSpPr/>
          <p:nvPr/>
        </p:nvGrpSpPr>
        <p:grpSpPr>
          <a:xfrm>
            <a:off x="353542" y="4130470"/>
            <a:ext cx="865327" cy="861773"/>
            <a:chOff x="5053967" y="3864381"/>
            <a:chExt cx="689697" cy="691203"/>
          </a:xfrm>
        </p:grpSpPr>
        <p:sp>
          <p:nvSpPr>
            <p:cNvPr id="83" name="Oval 12">
              <a:extLst>
                <a:ext uri="{FF2B5EF4-FFF2-40B4-BE49-F238E27FC236}">
                  <a16:creationId xmlns:a16="http://schemas.microsoft.com/office/drawing/2014/main" id="{351B094F-7944-8142-AD4A-E85AEDF60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3967" y="3864381"/>
              <a:ext cx="689697" cy="691203"/>
            </a:xfrm>
            <a:prstGeom prst="ellipse">
              <a:avLst/>
            </a:prstGeom>
            <a:solidFill>
              <a:srgbClr val="FEC0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137">
              <a:extLst>
                <a:ext uri="{FF2B5EF4-FFF2-40B4-BE49-F238E27FC236}">
                  <a16:creationId xmlns:a16="http://schemas.microsoft.com/office/drawing/2014/main" id="{DA407211-79FA-0C4A-A009-0E31AD111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3992" y="4041203"/>
              <a:ext cx="329647" cy="337558"/>
            </a:xfrm>
            <a:custGeom>
              <a:avLst/>
              <a:gdLst/>
              <a:ahLst/>
              <a:cxnLst>
                <a:cxn ang="0">
                  <a:pos x="46" y="30"/>
                </a:cxn>
                <a:cxn ang="0">
                  <a:pos x="39" y="36"/>
                </a:cxn>
                <a:cxn ang="0">
                  <a:pos x="39" y="50"/>
                </a:cxn>
                <a:cxn ang="0">
                  <a:pos x="38" y="50"/>
                </a:cxn>
                <a:cxn ang="0">
                  <a:pos x="24" y="58"/>
                </a:cxn>
                <a:cxn ang="0">
                  <a:pos x="24" y="59"/>
                </a:cxn>
                <a:cxn ang="0">
                  <a:pos x="23" y="58"/>
                </a:cxn>
                <a:cxn ang="0">
                  <a:pos x="21" y="56"/>
                </a:cxn>
                <a:cxn ang="0">
                  <a:pos x="21" y="55"/>
                </a:cxn>
                <a:cxn ang="0">
                  <a:pos x="24" y="45"/>
                </a:cxn>
                <a:cxn ang="0">
                  <a:pos x="14" y="35"/>
                </a:cxn>
                <a:cxn ang="0">
                  <a:pos x="4" y="38"/>
                </a:cxn>
                <a:cxn ang="0">
                  <a:pos x="3" y="38"/>
                </a:cxn>
                <a:cxn ang="0">
                  <a:pos x="3" y="38"/>
                </a:cxn>
                <a:cxn ang="0">
                  <a:pos x="0" y="35"/>
                </a:cxn>
                <a:cxn ang="0">
                  <a:pos x="0" y="34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23" y="19"/>
                </a:cxn>
                <a:cxn ang="0">
                  <a:pos x="29" y="12"/>
                </a:cxn>
                <a:cxn ang="0">
                  <a:pos x="57" y="0"/>
                </a:cxn>
                <a:cxn ang="0">
                  <a:pos x="58" y="1"/>
                </a:cxn>
                <a:cxn ang="0">
                  <a:pos x="46" y="30"/>
                </a:cxn>
                <a:cxn ang="0">
                  <a:pos x="47" y="8"/>
                </a:cxn>
                <a:cxn ang="0">
                  <a:pos x="43" y="12"/>
                </a:cxn>
                <a:cxn ang="0">
                  <a:pos x="47" y="15"/>
                </a:cxn>
                <a:cxn ang="0">
                  <a:pos x="50" y="12"/>
                </a:cxn>
                <a:cxn ang="0">
                  <a:pos x="47" y="8"/>
                </a:cxn>
              </a:cxnLst>
              <a:rect l="0" t="0" r="r" b="b"/>
              <a:pathLst>
                <a:path w="58" h="59">
                  <a:moveTo>
                    <a:pt x="46" y="30"/>
                  </a:moveTo>
                  <a:cubicBezTo>
                    <a:pt x="44" y="32"/>
                    <a:pt x="42" y="34"/>
                    <a:pt x="39" y="36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4" y="59"/>
                    <a:pt x="23" y="58"/>
                    <a:pt x="23" y="58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6"/>
                    <a:pt x="20" y="55"/>
                    <a:pt x="21" y="5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4"/>
                    <a:pt x="0" y="3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5" y="17"/>
                    <a:pt x="27" y="14"/>
                    <a:pt x="29" y="12"/>
                  </a:cubicBezTo>
                  <a:cubicBezTo>
                    <a:pt x="38" y="3"/>
                    <a:pt x="45" y="0"/>
                    <a:pt x="57" y="0"/>
                  </a:cubicBezTo>
                  <a:cubicBezTo>
                    <a:pt x="58" y="0"/>
                    <a:pt x="58" y="1"/>
                    <a:pt x="58" y="1"/>
                  </a:cubicBezTo>
                  <a:cubicBezTo>
                    <a:pt x="58" y="13"/>
                    <a:pt x="55" y="21"/>
                    <a:pt x="46" y="30"/>
                  </a:cubicBezTo>
                  <a:close/>
                  <a:moveTo>
                    <a:pt x="47" y="8"/>
                  </a:moveTo>
                  <a:cubicBezTo>
                    <a:pt x="45" y="8"/>
                    <a:pt x="43" y="10"/>
                    <a:pt x="43" y="12"/>
                  </a:cubicBezTo>
                  <a:cubicBezTo>
                    <a:pt x="43" y="14"/>
                    <a:pt x="45" y="15"/>
                    <a:pt x="47" y="15"/>
                  </a:cubicBezTo>
                  <a:cubicBezTo>
                    <a:pt x="49" y="15"/>
                    <a:pt x="50" y="14"/>
                    <a:pt x="50" y="12"/>
                  </a:cubicBezTo>
                  <a:cubicBezTo>
                    <a:pt x="50" y="10"/>
                    <a:pt x="49" y="8"/>
                    <a:pt x="47" y="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3" name="Group 58">
            <a:extLst>
              <a:ext uri="{FF2B5EF4-FFF2-40B4-BE49-F238E27FC236}">
                <a16:creationId xmlns:a16="http://schemas.microsoft.com/office/drawing/2014/main" id="{26843012-D5F8-7744-8828-73A2F874AC92}"/>
              </a:ext>
            </a:extLst>
          </p:cNvPr>
          <p:cNvGrpSpPr/>
          <p:nvPr/>
        </p:nvGrpSpPr>
        <p:grpSpPr>
          <a:xfrm>
            <a:off x="1283369" y="4221896"/>
            <a:ext cx="2353057" cy="726176"/>
            <a:chOff x="7174424" y="1327821"/>
            <a:chExt cx="2172053" cy="670316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8269E93-14AD-CB42-975D-804DF5753EE1}"/>
                </a:ext>
              </a:extLst>
            </p:cNvPr>
            <p:cNvSpPr txBox="1"/>
            <p:nvPr/>
          </p:nvSpPr>
          <p:spPr>
            <a:xfrm>
              <a:off x="7174425" y="1600395"/>
              <a:ext cx="2172052" cy="3977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qually split into train and test.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6A2DF044-7185-2642-8ECC-F09B245497E4}"/>
                </a:ext>
              </a:extLst>
            </p:cNvPr>
            <p:cNvSpPr/>
            <p:nvPr/>
          </p:nvSpPr>
          <p:spPr>
            <a:xfrm>
              <a:off x="7174424" y="1327821"/>
              <a:ext cx="1355993" cy="2272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1117560"/>
              <a:r>
                <a:rPr lang="en-US" sz="1600" b="1" dirty="0">
                  <a:solidFill>
                    <a:srgbClr val="FEC00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in-Test Split</a:t>
              </a:r>
            </a:p>
          </p:txBody>
        </p:sp>
      </p:grpSp>
      <p:grpSp>
        <p:nvGrpSpPr>
          <p:cNvPr id="106" name="Group 58">
            <a:extLst>
              <a:ext uri="{FF2B5EF4-FFF2-40B4-BE49-F238E27FC236}">
                <a16:creationId xmlns:a16="http://schemas.microsoft.com/office/drawing/2014/main" id="{BF2A80FC-EFD4-D642-A5B8-CFD1E5C3A7A8}"/>
              </a:ext>
            </a:extLst>
          </p:cNvPr>
          <p:cNvGrpSpPr/>
          <p:nvPr/>
        </p:nvGrpSpPr>
        <p:grpSpPr>
          <a:xfrm>
            <a:off x="6107226" y="1119132"/>
            <a:ext cx="2353057" cy="657186"/>
            <a:chOff x="7174425" y="1391504"/>
            <a:chExt cx="2172053" cy="606633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28993A6-09A0-104F-A228-9A09460806F9}"/>
                </a:ext>
              </a:extLst>
            </p:cNvPr>
            <p:cNvSpPr txBox="1"/>
            <p:nvPr/>
          </p:nvSpPr>
          <p:spPr>
            <a:xfrm>
              <a:off x="7174425" y="1600395"/>
              <a:ext cx="2172052" cy="3977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ually Tag each observation as car or general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5A76BBC3-3E77-9D47-B5B5-5D8A02524E73}"/>
                </a:ext>
              </a:extLst>
            </p:cNvPr>
            <p:cNvSpPr/>
            <p:nvPr/>
          </p:nvSpPr>
          <p:spPr>
            <a:xfrm>
              <a:off x="8121290" y="1391504"/>
              <a:ext cx="1225188" cy="21550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1117560"/>
              <a:r>
                <a:rPr lang="en-US" sz="1517" b="1" dirty="0">
                  <a:solidFill>
                    <a:srgbClr val="FEC00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Labelling</a:t>
              </a:r>
            </a:p>
          </p:txBody>
        </p:sp>
      </p:grpSp>
      <p:grpSp>
        <p:nvGrpSpPr>
          <p:cNvPr id="109" name="Group 58">
            <a:extLst>
              <a:ext uri="{FF2B5EF4-FFF2-40B4-BE49-F238E27FC236}">
                <a16:creationId xmlns:a16="http://schemas.microsoft.com/office/drawing/2014/main" id="{2C191E23-9E51-6942-AB67-A1B9449A9CA5}"/>
              </a:ext>
            </a:extLst>
          </p:cNvPr>
          <p:cNvGrpSpPr/>
          <p:nvPr/>
        </p:nvGrpSpPr>
        <p:grpSpPr>
          <a:xfrm>
            <a:off x="6087113" y="4190767"/>
            <a:ext cx="2353056" cy="912249"/>
            <a:chOff x="7174425" y="1354933"/>
            <a:chExt cx="2172052" cy="842075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ADE341F1-73EA-5746-AAFD-50BECA58091C}"/>
                </a:ext>
              </a:extLst>
            </p:cNvPr>
            <p:cNvSpPr txBox="1"/>
            <p:nvPr/>
          </p:nvSpPr>
          <p:spPr>
            <a:xfrm>
              <a:off x="7174425" y="1600395"/>
              <a:ext cx="2172052" cy="5966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90570">
                <a:spcBef>
                  <a:spcPct val="20000"/>
                </a:spcBef>
                <a:defRPr/>
              </a:pPr>
              <a:r>
                <a:rPr lang="en-US" sz="1400" dirty="0">
                  <a:solidFill>
                    <a:srgbClr val="262626">
                      <a:lumMod val="50000"/>
                      <a:lumOff val="50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different models and select the one with highest accuracy</a:t>
              </a:r>
              <a:endParaRPr lang="en-US" sz="1400" dirty="0">
                <a:solidFill>
                  <a:srgbClr val="262626">
                    <a:lumMod val="65000"/>
                    <a:lumOff val="3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2AE0D394-6C5D-9B4A-B6C8-5E8D41F91A06}"/>
                </a:ext>
              </a:extLst>
            </p:cNvPr>
            <p:cNvSpPr/>
            <p:nvPr/>
          </p:nvSpPr>
          <p:spPr>
            <a:xfrm>
              <a:off x="8382173" y="1354933"/>
              <a:ext cx="947006" cy="2272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1117560"/>
              <a:r>
                <a:rPr lang="en-US" sz="1600" b="1" dirty="0">
                  <a:solidFill>
                    <a:srgbClr val="01488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 Model</a:t>
              </a:r>
            </a:p>
          </p:txBody>
        </p:sp>
      </p:grpSp>
      <p:sp>
        <p:nvSpPr>
          <p:cNvPr id="112" name="Text Placeholder 1">
            <a:extLst>
              <a:ext uri="{FF2B5EF4-FFF2-40B4-BE49-F238E27FC236}">
                <a16:creationId xmlns:a16="http://schemas.microsoft.com/office/drawing/2014/main" id="{D917858F-B4FE-0643-ACB0-9E7C9679F0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0577" y="291439"/>
            <a:ext cx="9344435" cy="369887"/>
          </a:xfrm>
        </p:spPr>
        <p:txBody>
          <a:bodyPr/>
          <a:lstStyle/>
          <a:p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Implementation &amp; Execution</a:t>
            </a:r>
          </a:p>
        </p:txBody>
      </p:sp>
      <p:grpSp>
        <p:nvGrpSpPr>
          <p:cNvPr id="113" name="Group 64">
            <a:extLst>
              <a:ext uri="{FF2B5EF4-FFF2-40B4-BE49-F238E27FC236}">
                <a16:creationId xmlns:a16="http://schemas.microsoft.com/office/drawing/2014/main" id="{D05B9572-8840-264C-9BEC-3040FDAC5608}"/>
              </a:ext>
            </a:extLst>
          </p:cNvPr>
          <p:cNvGrpSpPr/>
          <p:nvPr/>
        </p:nvGrpSpPr>
        <p:grpSpPr>
          <a:xfrm rot="19223737">
            <a:off x="4049401" y="2227629"/>
            <a:ext cx="1940205" cy="1940205"/>
            <a:chOff x="3274424" y="1575559"/>
            <a:chExt cx="2253978" cy="2253978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5BA6FFAD-A26B-F848-AEB7-F6EE8988617C}"/>
                </a:ext>
              </a:extLst>
            </p:cNvPr>
            <p:cNvSpPr/>
            <p:nvPr/>
          </p:nvSpPr>
          <p:spPr>
            <a:xfrm>
              <a:off x="3274424" y="1575559"/>
              <a:ext cx="2253978" cy="2253978"/>
            </a:xfrm>
            <a:prstGeom prst="ellipse">
              <a:avLst/>
            </a:prstGeom>
            <a:solidFill>
              <a:srgbClr val="9B1717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 extrusionH="381000">
              <a:bevelT w="0" h="0" prst="convex"/>
              <a:extrusionClr>
                <a:schemeClr val="tx1">
                  <a:lumMod val="65000"/>
                  <a:lumOff val="35000"/>
                </a:schemeClr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EC907F24-F53A-8B4C-81EE-136B9BC5DF6A}"/>
                </a:ext>
              </a:extLst>
            </p:cNvPr>
            <p:cNvSpPr/>
            <p:nvPr/>
          </p:nvSpPr>
          <p:spPr>
            <a:xfrm>
              <a:off x="3558434" y="1859569"/>
              <a:ext cx="1685959" cy="1685959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>
              <a:bevelT w="0" h="0" prst="convex"/>
              <a:extrusionClr>
                <a:srgbClr val="FFFFFF"/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23EB1DF4-8576-2D4B-8714-12028F65E535}"/>
                </a:ext>
              </a:extLst>
            </p:cNvPr>
            <p:cNvSpPr/>
            <p:nvPr/>
          </p:nvSpPr>
          <p:spPr>
            <a:xfrm>
              <a:off x="3809122" y="2110257"/>
              <a:ext cx="1184583" cy="1184583"/>
            </a:xfrm>
            <a:prstGeom prst="ellipse">
              <a:avLst/>
            </a:prstGeom>
            <a:solidFill>
              <a:srgbClr val="9B1717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>
              <a:bevelT w="0" h="0" prst="convex"/>
              <a:extrusionClr>
                <a:srgbClr val="FFFFFF"/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3CA93A52-C6C3-4141-9D4F-1A874562D9B0}"/>
                </a:ext>
              </a:extLst>
            </p:cNvPr>
            <p:cNvSpPr/>
            <p:nvPr/>
          </p:nvSpPr>
          <p:spPr>
            <a:xfrm>
              <a:off x="3970688" y="2271823"/>
              <a:ext cx="861450" cy="861450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cene3d>
              <a:camera prst="isometricTopUp">
                <a:rot lat="21594000" lon="20400000" rev="0"/>
              </a:camera>
              <a:lightRig rig="threePt" dir="t"/>
            </a:scene3d>
            <a:sp3d>
              <a:bevelT w="0" h="0" prst="convex"/>
              <a:extrusionClr>
                <a:srgbClr val="FFFFFF"/>
              </a:extrusionClr>
              <a:contourClr>
                <a:srgbClr val="FFFFFF"/>
              </a:contourClr>
            </a:sp3d>
          </p:spPr>
          <p:txBody>
            <a:bodyPr rtlCol="0" anchor="ctr"/>
            <a:lstStyle/>
            <a:p>
              <a:pPr marL="0" marR="0" lvl="0" indent="0" algn="ctr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8" name="Group 86">
            <a:extLst>
              <a:ext uri="{FF2B5EF4-FFF2-40B4-BE49-F238E27FC236}">
                <a16:creationId xmlns:a16="http://schemas.microsoft.com/office/drawing/2014/main" id="{2F967F6B-6165-5047-A627-8951ED1BA8E7}"/>
              </a:ext>
            </a:extLst>
          </p:cNvPr>
          <p:cNvGrpSpPr/>
          <p:nvPr/>
        </p:nvGrpSpPr>
        <p:grpSpPr>
          <a:xfrm rot="8404606">
            <a:off x="4855720" y="2166742"/>
            <a:ext cx="1795649" cy="980971"/>
            <a:chOff x="3990975" y="2525713"/>
            <a:chExt cx="1697038" cy="927100"/>
          </a:xfrm>
          <a:solidFill>
            <a:srgbClr val="014884"/>
          </a:solidFill>
        </p:grpSpPr>
        <p:sp>
          <p:nvSpPr>
            <p:cNvPr id="119" name="Freeform 17">
              <a:extLst>
                <a:ext uri="{FF2B5EF4-FFF2-40B4-BE49-F238E27FC236}">
                  <a16:creationId xmlns:a16="http://schemas.microsoft.com/office/drawing/2014/main" id="{E0FE42D7-76AB-2646-8D41-2FCF03621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6375" y="2970213"/>
              <a:ext cx="363538" cy="330200"/>
            </a:xfrm>
            <a:custGeom>
              <a:avLst/>
              <a:gdLst/>
              <a:ahLst/>
              <a:cxnLst>
                <a:cxn ang="0">
                  <a:pos x="236" y="0"/>
                </a:cxn>
                <a:cxn ang="0">
                  <a:pos x="271" y="128"/>
                </a:cxn>
                <a:cxn ang="0">
                  <a:pos x="236" y="0"/>
                </a:cxn>
              </a:cxnLst>
              <a:rect l="0" t="0" r="r" b="b"/>
              <a:pathLst>
                <a:path w="271" h="245">
                  <a:moveTo>
                    <a:pt x="236" y="0"/>
                  </a:moveTo>
                  <a:cubicBezTo>
                    <a:pt x="23" y="81"/>
                    <a:pt x="0" y="245"/>
                    <a:pt x="271" y="128"/>
                  </a:cubicBezTo>
                  <a:lnTo>
                    <a:pt x="23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Freeform 18">
              <a:extLst>
                <a:ext uri="{FF2B5EF4-FFF2-40B4-BE49-F238E27FC236}">
                  <a16:creationId xmlns:a16="http://schemas.microsoft.com/office/drawing/2014/main" id="{A39F1D26-1081-4548-8B1F-7C8C9D957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975" y="2651125"/>
              <a:ext cx="404813" cy="327025"/>
            </a:xfrm>
            <a:custGeom>
              <a:avLst/>
              <a:gdLst/>
              <a:ahLst/>
              <a:cxnLst>
                <a:cxn ang="0">
                  <a:pos x="255" y="244"/>
                </a:cxn>
                <a:cxn ang="0">
                  <a:pos x="302" y="121"/>
                </a:cxn>
                <a:cxn ang="0">
                  <a:pos x="255" y="244"/>
                </a:cxn>
              </a:cxnLst>
              <a:rect l="0" t="0" r="r" b="b"/>
              <a:pathLst>
                <a:path w="302" h="244">
                  <a:moveTo>
                    <a:pt x="255" y="244"/>
                  </a:moveTo>
                  <a:cubicBezTo>
                    <a:pt x="0" y="106"/>
                    <a:pt x="50" y="0"/>
                    <a:pt x="302" y="121"/>
                  </a:cubicBezTo>
                  <a:lnTo>
                    <a:pt x="255" y="2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Freeform 19">
              <a:extLst>
                <a:ext uri="{FF2B5EF4-FFF2-40B4-BE49-F238E27FC236}">
                  <a16:creationId xmlns:a16="http://schemas.microsoft.com/office/drawing/2014/main" id="{6EBC5B2C-162C-7449-9150-9FFECC613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488" y="3011488"/>
              <a:ext cx="390525" cy="41275"/>
            </a:xfrm>
            <a:custGeom>
              <a:avLst/>
              <a:gdLst/>
              <a:ahLst/>
              <a:cxnLst>
                <a:cxn ang="0">
                  <a:pos x="73" y="2"/>
                </a:cxn>
                <a:cxn ang="0">
                  <a:pos x="0" y="8"/>
                </a:cxn>
                <a:cxn ang="0">
                  <a:pos x="72" y="21"/>
                </a:cxn>
                <a:cxn ang="0">
                  <a:pos x="291" y="27"/>
                </a:cxn>
                <a:cxn ang="0">
                  <a:pos x="292" y="24"/>
                </a:cxn>
                <a:cxn ang="0">
                  <a:pos x="73" y="2"/>
                </a:cxn>
              </a:cxnLst>
              <a:rect l="0" t="0" r="r" b="b"/>
              <a:pathLst>
                <a:path w="292" h="30">
                  <a:moveTo>
                    <a:pt x="73" y="2"/>
                  </a:moveTo>
                  <a:cubicBezTo>
                    <a:pt x="33" y="0"/>
                    <a:pt x="1" y="2"/>
                    <a:pt x="0" y="8"/>
                  </a:cubicBezTo>
                  <a:cubicBezTo>
                    <a:pt x="0" y="13"/>
                    <a:pt x="32" y="19"/>
                    <a:pt x="72" y="21"/>
                  </a:cubicBezTo>
                  <a:cubicBezTo>
                    <a:pt x="100" y="22"/>
                    <a:pt x="279" y="30"/>
                    <a:pt x="291" y="27"/>
                  </a:cubicBezTo>
                  <a:cubicBezTo>
                    <a:pt x="292" y="26"/>
                    <a:pt x="292" y="26"/>
                    <a:pt x="292" y="24"/>
                  </a:cubicBezTo>
                  <a:cubicBezTo>
                    <a:pt x="280" y="21"/>
                    <a:pt x="101" y="3"/>
                    <a:pt x="73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Freeform 21">
              <a:extLst>
                <a:ext uri="{FF2B5EF4-FFF2-40B4-BE49-F238E27FC236}">
                  <a16:creationId xmlns:a16="http://schemas.microsoft.com/office/drawing/2014/main" id="{8F6FCBDE-ACDD-B04E-95ED-055452123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875" y="2951163"/>
              <a:ext cx="1028700" cy="134938"/>
            </a:xfrm>
            <a:custGeom>
              <a:avLst/>
              <a:gdLst/>
              <a:ahLst/>
              <a:cxnLst>
                <a:cxn ang="0">
                  <a:pos x="768" y="10"/>
                </a:cxn>
                <a:cxn ang="0">
                  <a:pos x="0" y="9"/>
                </a:cxn>
                <a:cxn ang="0">
                  <a:pos x="0" y="26"/>
                </a:cxn>
                <a:cxn ang="0">
                  <a:pos x="763" y="100"/>
                </a:cxn>
                <a:cxn ang="0">
                  <a:pos x="768" y="10"/>
                </a:cxn>
              </a:cxnLst>
              <a:rect l="0" t="0" r="r" b="b"/>
              <a:pathLst>
                <a:path w="768" h="100">
                  <a:moveTo>
                    <a:pt x="768" y="10"/>
                  </a:moveTo>
                  <a:cubicBezTo>
                    <a:pt x="512" y="0"/>
                    <a:pt x="257" y="0"/>
                    <a:pt x="0" y="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54" y="60"/>
                    <a:pt x="508" y="85"/>
                    <a:pt x="763" y="100"/>
                  </a:cubicBezTo>
                  <a:lnTo>
                    <a:pt x="768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Freeform 22">
              <a:extLst>
                <a:ext uri="{FF2B5EF4-FFF2-40B4-BE49-F238E27FC236}">
                  <a16:creationId xmlns:a16="http://schemas.microsoft.com/office/drawing/2014/main" id="{89A6CED8-8E5B-4F40-8E34-1B5EC7F48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750" y="2957513"/>
              <a:ext cx="307975" cy="128588"/>
            </a:xfrm>
            <a:custGeom>
              <a:avLst/>
              <a:gdLst/>
              <a:ahLst/>
              <a:cxnLst>
                <a:cxn ang="0">
                  <a:pos x="187" y="5"/>
                </a:cxn>
                <a:cxn ang="0">
                  <a:pos x="10" y="0"/>
                </a:cxn>
                <a:cxn ang="0">
                  <a:pos x="0" y="82"/>
                </a:cxn>
                <a:cxn ang="0">
                  <a:pos x="182" y="95"/>
                </a:cxn>
                <a:cxn ang="0">
                  <a:pos x="187" y="5"/>
                </a:cxn>
              </a:cxnLst>
              <a:rect l="0" t="0" r="r" b="b"/>
              <a:pathLst>
                <a:path w="230" h="95">
                  <a:moveTo>
                    <a:pt x="187" y="5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4" y="14"/>
                    <a:pt x="40" y="66"/>
                    <a:pt x="0" y="82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230" y="85"/>
                    <a:pt x="228" y="17"/>
                    <a:pt x="187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Freeform 23">
              <a:extLst>
                <a:ext uri="{FF2B5EF4-FFF2-40B4-BE49-F238E27FC236}">
                  <a16:creationId xmlns:a16="http://schemas.microsoft.com/office/drawing/2014/main" id="{5A0C24E8-A3CC-F848-864E-BCF1754F2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350" y="2525713"/>
              <a:ext cx="420688" cy="466725"/>
            </a:xfrm>
            <a:custGeom>
              <a:avLst/>
              <a:gdLst/>
              <a:ahLst/>
              <a:cxnLst>
                <a:cxn ang="0">
                  <a:pos x="314" y="348"/>
                </a:cxn>
                <a:cxn ang="0">
                  <a:pos x="0" y="334"/>
                </a:cxn>
                <a:cxn ang="0">
                  <a:pos x="314" y="348"/>
                </a:cxn>
              </a:cxnLst>
              <a:rect l="0" t="0" r="r" b="b"/>
              <a:pathLst>
                <a:path w="314" h="348">
                  <a:moveTo>
                    <a:pt x="314" y="348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78" y="44"/>
                    <a:pt x="280" y="0"/>
                    <a:pt x="314" y="3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5" name="Freeform 24">
              <a:extLst>
                <a:ext uri="{FF2B5EF4-FFF2-40B4-BE49-F238E27FC236}">
                  <a16:creationId xmlns:a16="http://schemas.microsoft.com/office/drawing/2014/main" id="{9A64B1A1-FDE3-534B-8BB1-C4B885234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350" y="2974975"/>
              <a:ext cx="420688" cy="477838"/>
            </a:xfrm>
            <a:custGeom>
              <a:avLst/>
              <a:gdLst/>
              <a:ahLst/>
              <a:cxnLst>
                <a:cxn ang="0">
                  <a:pos x="314" y="14"/>
                </a:cxn>
                <a:cxn ang="0">
                  <a:pos x="0" y="0"/>
                </a:cxn>
                <a:cxn ang="0">
                  <a:pos x="314" y="14"/>
                </a:cxn>
              </a:cxnLst>
              <a:rect l="0" t="0" r="r" b="b"/>
              <a:pathLst>
                <a:path w="314" h="356">
                  <a:moveTo>
                    <a:pt x="314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296"/>
                    <a:pt x="247" y="356"/>
                    <a:pt x="314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175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7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88B27317-A939-014C-8BB2-437BB5D5FBD1}"/>
              </a:ext>
            </a:extLst>
          </p:cNvPr>
          <p:cNvSpPr txBox="1"/>
          <p:nvPr/>
        </p:nvSpPr>
        <p:spPr>
          <a:xfrm>
            <a:off x="6189710" y="2893542"/>
            <a:ext cx="2584174" cy="42156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 dirty="0">
                <a:solidFill>
                  <a:srgbClr val="01488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driven approach for this problem.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438A64EB-CB03-6148-A6C2-ED742316C0CF}"/>
              </a:ext>
            </a:extLst>
          </p:cNvPr>
          <p:cNvSpPr txBox="1"/>
          <p:nvPr/>
        </p:nvSpPr>
        <p:spPr>
          <a:xfrm>
            <a:off x="326766" y="6464991"/>
            <a:ext cx="6400800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</a:pPr>
            <a:r>
              <a:rPr lang="en-US" sz="600">
                <a:latin typeface="Segoe UI" panose="020B0502040204020203" pitchFamily="34" charset="0"/>
                <a:cs typeface="Segoe UI" panose="020B0502040204020203" pitchFamily="34" charset="0"/>
              </a:rPr>
              <a:t>Source: Pentagon Case Team</a:t>
            </a:r>
          </a:p>
        </p:txBody>
      </p:sp>
      <p:graphicFrame>
        <p:nvGraphicFramePr>
          <p:cNvPr id="45" name="Table 7">
            <a:extLst>
              <a:ext uri="{FF2B5EF4-FFF2-40B4-BE49-F238E27FC236}">
                <a16:creationId xmlns:a16="http://schemas.microsoft.com/office/drawing/2014/main" id="{BC111091-5DD4-5F43-8877-1DBE0AEEB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037116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46" name="Rectangle 45">
            <a:extLst>
              <a:ext uri="{FF2B5EF4-FFF2-40B4-BE49-F238E27FC236}">
                <a16:creationId xmlns:a16="http://schemas.microsoft.com/office/drawing/2014/main" id="{69485BAB-1A1C-744C-B36C-58E1D83EC1E6}"/>
              </a:ext>
            </a:extLst>
          </p:cNvPr>
          <p:cNvSpPr/>
          <p:nvPr/>
        </p:nvSpPr>
        <p:spPr>
          <a:xfrm>
            <a:off x="5854262" y="6253064"/>
            <a:ext cx="3905642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B12B3A5-B04A-8B4C-B89D-B8D714A9DDBE}"/>
              </a:ext>
            </a:extLst>
          </p:cNvPr>
          <p:cNvSpPr/>
          <p:nvPr/>
        </p:nvSpPr>
        <p:spPr>
          <a:xfrm>
            <a:off x="24576" y="6236930"/>
            <a:ext cx="3905642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26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3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A05C929-DCA6-49EB-8B60-ACC47A994627}"/>
              </a:ext>
            </a:extLst>
          </p:cNvPr>
          <p:cNvSpPr txBox="1"/>
          <p:nvPr/>
        </p:nvSpPr>
        <p:spPr>
          <a:xfrm>
            <a:off x="4132139" y="3176622"/>
            <a:ext cx="1722123" cy="96334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3153</a:t>
            </a:r>
            <a:r>
              <a:rPr 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ke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D3E8D1-BD00-4D5D-B358-79F48AC53E46}"/>
              </a:ext>
            </a:extLst>
          </p:cNvPr>
          <p:cNvSpPr txBox="1"/>
          <p:nvPr/>
        </p:nvSpPr>
        <p:spPr>
          <a:xfrm>
            <a:off x="690215" y="1249182"/>
            <a:ext cx="2504054" cy="12403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000</a:t>
            </a:r>
            <a:r>
              <a:rPr lang="en-US" sz="4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uments for train &amp; validation of mode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C5A8AD-D454-4010-8830-D3A209F54967}"/>
              </a:ext>
            </a:extLst>
          </p:cNvPr>
          <p:cNvSpPr txBox="1"/>
          <p:nvPr/>
        </p:nvSpPr>
        <p:spPr>
          <a:xfrm>
            <a:off x="6695463" y="1210710"/>
            <a:ext cx="2504054" cy="131728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00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uments for testing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mode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1F05D5-19D4-4FB0-A9FF-67E65EE55716}"/>
              </a:ext>
            </a:extLst>
          </p:cNvPr>
          <p:cNvSpPr txBox="1"/>
          <p:nvPr/>
        </p:nvSpPr>
        <p:spPr>
          <a:xfrm>
            <a:off x="7146804" y="4601838"/>
            <a:ext cx="1601371" cy="96334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  <a:r>
              <a:rPr lang="en-US" sz="44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x n-gram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8CDB3E-FE0A-4035-91EB-D99DF1B81716}"/>
              </a:ext>
            </a:extLst>
          </p:cNvPr>
          <p:cNvSpPr txBox="1"/>
          <p:nvPr/>
        </p:nvSpPr>
        <p:spPr>
          <a:xfrm>
            <a:off x="761728" y="4463339"/>
            <a:ext cx="2361029" cy="124034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nimum document frequency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8B5C1D31-A0CE-43FA-AC45-7AC69A4DD126}"/>
              </a:ext>
            </a:extLst>
          </p:cNvPr>
          <p:cNvSpPr txBox="1">
            <a:spLocks/>
          </p:cNvSpPr>
          <p:nvPr/>
        </p:nvSpPr>
        <p:spPr>
          <a:xfrm>
            <a:off x="180577" y="291439"/>
            <a:ext cx="9344435" cy="594826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>
                <a:latin typeface="Segoe UI" panose="020B0502040204020203" pitchFamily="34" charset="0"/>
                <a:cs typeface="Segoe UI" panose="020B0502040204020203" pitchFamily="34" charset="0"/>
              </a:rPr>
              <a:t>Pre-processing </a:t>
            </a:r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Parameter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C48AD08-3526-4FFD-A92A-C2674141F8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041704"/>
              </p:ext>
            </p:extLst>
          </p:nvPr>
        </p:nvGraphicFramePr>
        <p:xfrm>
          <a:off x="24576" y="6256580"/>
          <a:ext cx="9747800" cy="36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560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  <a:gridCol w="1949560">
                  <a:extLst>
                    <a:ext uri="{9D8B030D-6E8A-4147-A177-3AD203B41FA5}">
                      <a16:colId xmlns:a16="http://schemas.microsoft.com/office/drawing/2014/main" val="1046020088"/>
                    </a:ext>
                  </a:extLst>
                </a:gridCol>
              </a:tblGrid>
              <a:tr h="36988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siness Problem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thodology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ling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ke-aways</a:t>
                      </a:r>
                    </a:p>
                  </a:txBody>
                  <a:tcPr anchor="ctr">
                    <a:solidFill>
                      <a:srgbClr val="014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1ED6855-65D1-4BB8-974B-FFBC8A40B5AF}"/>
              </a:ext>
            </a:extLst>
          </p:cNvPr>
          <p:cNvSpPr/>
          <p:nvPr/>
        </p:nvSpPr>
        <p:spPr>
          <a:xfrm>
            <a:off x="5854262" y="6253064"/>
            <a:ext cx="3905642" cy="369887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37C505-B61B-4079-8678-72D2230E57C9}"/>
              </a:ext>
            </a:extLst>
          </p:cNvPr>
          <p:cNvSpPr/>
          <p:nvPr/>
        </p:nvSpPr>
        <p:spPr>
          <a:xfrm>
            <a:off x="24576" y="6236930"/>
            <a:ext cx="3905642" cy="365760"/>
          </a:xfrm>
          <a:prstGeom prst="rect">
            <a:avLst/>
          </a:prstGeom>
          <a:solidFill>
            <a:srgbClr val="F5F1E7">
              <a:alpha val="87000"/>
            </a:srgb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81392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4B&quot; g=&quot;39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xL3jV_0mPZg0DK61p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Vkhr9sCQzUkFVEkmT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36gJU1yVdzYHodF1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36gJU1yVdzYHodF1d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tvSeeh30a8AT4cug3Db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.xml><?xml version="1.0" encoding="utf-8"?>
<a:theme xmlns:a="http://schemas.openxmlformats.org/drawingml/2006/main" name="1_Custom Design">
  <a:themeElements>
    <a:clrScheme name="0_New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237DB9"/>
      </a:accent1>
      <a:accent2>
        <a:srgbClr val="15AA96"/>
      </a:accent2>
      <a:accent3>
        <a:srgbClr val="9BB955"/>
      </a:accent3>
      <a:accent4>
        <a:srgbClr val="F19B14"/>
      </a:accent4>
      <a:accent5>
        <a:srgbClr val="BE382C"/>
      </a:accent5>
      <a:accent6>
        <a:srgbClr val="633247"/>
      </a:accent6>
      <a:hlink>
        <a:srgbClr val="FFFFFF"/>
      </a:hlink>
      <a:folHlink>
        <a:srgbClr val="595959"/>
      </a:folHlink>
    </a:clrScheme>
    <a:fontScheme name="Roboto">
      <a:majorFont>
        <a:latin typeface="Roboto Medium"/>
        <a:ea typeface=""/>
        <a:cs typeface="FontAwesome"/>
      </a:majorFont>
      <a:minorFont>
        <a:latin typeface="Roboto Condensed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</a:objectDefaults>
  <a:extraClrSchemeLst/>
</a:theme>
</file>

<file path=ppt/theme/theme4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rmat_Library</Template>
  <TotalTime>0</TotalTime>
  <Words>4308</Words>
  <Application>Microsoft Office PowerPoint</Application>
  <PresentationFormat>A4 Paper (210x297 mm)</PresentationFormat>
  <Paragraphs>237</Paragraphs>
  <Slides>24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Custom Design</vt:lpstr>
      <vt:lpstr>Blank</vt:lpstr>
      <vt:lpstr>1_Custom Design</vt:lpstr>
      <vt:lpstr>1_Blank</vt:lpstr>
      <vt:lpstr>PowerPoint Presentation</vt:lpstr>
      <vt:lpstr>Group 1</vt:lpstr>
      <vt:lpstr>Group 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sted our results on Tippecanoe 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# -*- coding: utf-8 -*- import scrapy from scrapy import Request  class ProjectSpider(scrapy.Spider):     name = 'project'     allowed_domains = ['craigslist.org']     # start_urls = ['https://chicago.craigslist.org/d/general-for-sale/search/foa']    # for general data     start_urls = ['https://indianapolis.craigslist.org/d/cars-trucks/search/cta']          #for cars data     def parse(self, response):         deals = response.xpath('//p[@class="result-info"]')         #print(adv)         for deal in deals:             title = deal.xpath('a/text()').extract_first()             price = deal.xpath('span[@class="result-meta"]/span[@class="result-price"]/text()').extract_first()[1:]             lower_rel_url = deal.xpath('a/@href').extract_first()             lower_url = response.urljoin(lower_rel_url)             yield Request(lower_url, callback=self.parse_lower,meta={'Title': title, 'Price': price})         next_rel_url = response.xpath('//a[@class="button next"]/@href').get()         next_url = response.urljoin(next_rel_url)         yield Request(next_url, callback=self.parse)      def parse_lower(self, response):         text = "".join(line for line in response.xpath \             ('//*[@id="postingbody"]/text()').getall())         text = " ".join(text.split())         # add content to meta property for generating new column in output         response.meta['Text'] = text         # remove metadata columns          del response.meta['depth']         del response.meta['download_timeout']         del response.meta['download_slot']         del response.meta['download_latency']         yield response.meta</vt:lpstr>
      <vt:lpstr>PowerPoint Presentation</vt:lpstr>
      <vt:lpstr>######################################## Preprocess ###############################################  reviews_gen = [x for x in reviews_gen if not isinstance(x, float)] reviews_car = [x for x in reviews_car if not isinstance(x, float)] def pre_process_text(text):     text = text.lower()     tokens = nltk.word_tokenize(text)     lemmatized = [lemmatizer.lemmatize(token) for token in tokens if token.isalpha()]     lemmatized = " ".join(lemmatized)     return lemmatized  reviews_gen = list(map(pre_process_text,reviews_gen)) reviews_car = list(map(pre_process_text,reviews_car))  n1 = df_gen.columns[0] df_gen.drop(n1, axis=1, inplace=True) df_gen[n1] = reviews_gen n2 = df_car.columns[0] df_car.drop(n2, axis=1, inplace=True) df_car[n2] = reviews_car  data_gen, data_car = df_gen.values.tolist(), df_car.values.tolist() train_gen, test_gen = data_gen[:1500] , data_gen[1500:]  # split train and test set for restaurants train_car, test_car = data_car[:1500], data_car[1500:]  # split train and test set for movies training, testing = train_gen + train_car, test_gen + test_car  # combine training and test sets x_train, x_test = [i[1] for i in training], [i[1] for i in testing] y_train, y_test = [i[0] for i in training], [i[0] for i in testing] # dummy function for pre processing def tk(doc):     return doc  tfidf = TfidfVectorizer(analyzer='word', preprocessor=tk, tokenizer=tk, ngram_range=(1, 2),                         min_df=5, stop_words='english') # initialize TF-IDF vectorizer tfidf.fit(x_train) x_train = tfidf.transform(x_train) x_test = tfidf.transform(x_test)  ###################################################################################################</vt:lpstr>
      <vt:lpstr>###########################################  Modelling ############################################  # Logit Logitmodel = LogisticRegression() Logitmodel.fit(x_train, y_train) y_pred_logit = Logitmodel.predict(x_test) acc_logit = accuracy_score(y_test, y_pred_logit) print("Logit model Accuracy:: {:.2f}%".format(acc_logit*100))  # Naive Bayes NBmodel = MultinomialNB() NBmodel.fit(x_train, y_train) y_pred_NB = NBmodel.predict(x_test) acc_NB = accuracy_score(y_test, y_pred_NB) print("Naive Bayes model Accuracy::{:.2f}%".format(acc_NB*100))  # Support Vector Classifier SVMmodel = LinearSVC() SVMmodel.fit(x_train, y_train) y_pred_SVM = SVMmodel.predict(x_test) acc_SVM = accuracy_score(y_test, y_pred_SVM) print("SVM model Accuracy:{:.2f}%".format(acc_SVM*100))  # Random Forest Classifier RFmodel = RandomForestClassifier(n_estimators=100, max_depth=10, criterion='entropy',                                  bootstrap=True, random_state=0) ## number of trees and number of layers/depth RFmodel.fit(x_train, y_train) y_pred_RF = RFmodel.predict(x_test) acc_RF = accuracy_score(y_test, y_pred_RF) print("Random Forest Model Accuracy: {:.2f}%".format(acc_RF*100))  # Deep Learning DLmodel2 = MLPClassifier(solver='adam', hidden_layer_sizes=(60,50,40), random_state=1, n_iter_no_change=20,                         learning_rate='adaptive', max_iter=200, verbose=False, early_stopping=True) DLmodel2.fit(x_train, y_train) y_pred_DL= DLmodel2.predict(x_test) acc_DL = accuracy_score(y_test, y_pred_DL) print("DL model Accuracy: {:.2f}%".format(acc_DL*100))  ###################################################################################################</vt:lpstr>
      <vt:lpstr>def TFIDF(ran,min, train, test):      def tk(doc):         return doc     ran = (1,ran)     print(ran)     tfidf = TfidfVectorizer(analyzer='word', preprocessor=tk, tokenizer=tk, ngram_range=ran,                             min_df=5) # initialize TF-IDF vectorizer     tfidf.fit(train)     x_train = tfidf.transform(train)     x_test = tfidf.transform(test)     print("For min_df=",min,"and ngram=",ran)     return x_train,x_test   def deep(i,j,x_train,y_train,x_test,y_test):      DLmodel2 = MLPClassifier(solver='adam', hidden_layer_sizes=(i,j), random_state=1, n_iter_no_change=20,                              learning_rate='adaptive', max_iter=200, verbose=False, early_stopping=True)     DLmodel2.fit(x_train, y_train)     y_pred_DL = DLmodel2.predict(x_test)     acc_DL = accuracy_score(y_test, y_pred_DL)      print("For nodes = ",i,"and layers = ", j," accuracy=  ",acc_DL)      return acc_DL</vt:lpstr>
      <vt:lpstr>for min_df in [3,4,5]:     for n_gram in [2,3,4]:         train,test = TFIDF(n_gram,min_df,x_train,x_test)         for nodes in list(np.arange(5,40,5)):             for layers in [2,3,4,5,6]:                 acc = deep(nodes,layers,train,y_train,test,y_test)                 if acc&gt;best:                     best=acc                     best_min_df=min_df                     best_ngram = n_gram                     best_nodes = nodes                     best_layers = layers  def tk(doc):     return doc   tfidf = TfidfVectorizer(analyzer='word', preprocessor=tk, tokenizer=tk, ngram_range=(1,4),                             min_df=3)  tfidf.fit(x_train) x_train = tfidf.transform(x_train) x_test = tfidf.transform(df_x)    # Deep Learning DLmodel2 = MLPClassifier(solver='adam', hidden_layer_sizes=(15,3), random_state=1, n_iter_no_change=20,                         learning_rate='adaptive', max_iter=200, verbose=False, early_stopping=True) DLmodel2.fit(x_train, y_train) y_pred_DL= DLmodel2.predict(x_test) acc_DL = accuracy_score(df_y, y_pred_DL) print("DL model Accuracy: {:.2f}%".format(acc_DL*100))</vt:lpstr>
      <vt:lpstr>############################################ LSTM ################################################# def clean_text(text):     text = text.lower()  # lowercase text     text = REPLACE_BY_SPACE_RE.sub(' ',                                    text)  # replace REPLACE_BY_SPACE_RE symbols by space in text. substitute the matched string in REPLACE_BY_SPACE_RE with space.     text = BAD_SYMBOLS_RE.sub('',                               text)  # remove symbols which are in BAD_SYMBOLS_RE from text. substitute the matched string in BAD_SYMBOLS_RE with nothing.     text = text.replace('x', '')     text = ' '.join(word for word in text.split() if word not in STOPWORDS)  # remove stopwors from text     return text  STOPWORDS, REPLACE_BY_SPACE_RE = set(stopwords.words('english’)), re.compile('[/(){}\[\]\|@,;]') BAD_SYMBOLS_RE, STOPWORDS = re.compile('[^a-z #+_]’), set(stopwords.words('english')) MAX_NB_WORDS, MAX_SEQUENCE_LENGTH, EMBEDDING_DIM = 50000, 250, 100  df = pd.concat([df_gen, df_car]) df['Text'] = df['Text'].astype(str) df['Text'] = df['Text'].apply(clean_text) df['Text'] = df['Text'].str.replace('\d+', '')  tokenizer = Tokenizer(num_words=MAX_NB_WORDS, filters='!"#$%&amp;()*+,-./:;&lt;=&gt;?@[\]^_`{|}~', lower=True) tokenizer.fit_on_texts(df['Text'].values) X = tokenizer.texts_to_sequences(df['Text'].values) X = pad_sequences(X, maxlen=MAX_SEQUENCE_LENGTH) Y = pd.get_dummies(df['Label']).values word_index = tokenizer.word_index X_train, X_test, Y_train, Y_test = train_test_split(X,Y, test_size = 0.20, random_state = 42) model = Sequential() model.add(Embedding(MAX_NB_WORDS, EMBEDDING_DIM, input_length=X.shape[1])) model.add(SpatialDropout1D(0.25)) model.add(LSTM(140, dropout=0.2, recurrent_dropout=0.2)) model.add(Dense(2, activation='softmax')) model.compile(loss='categorical_crossentropy', optimizer='adam', metrics=['accuracy']) epochs = 2 batch_size = 60 history = model.fit(X_train, Y_train, epochs=epochs, batch_size=batch_size,validation_split=0.1,                     callbacks=[EarlyStopping(monitor='val_loss', patience=3, min_delta=0.0001)])  accr = model.evaluate(X_test,Y_test) print('Test set\n  Loss: {:0.3f}\n  Accuracy: {:0.3f}'.format(accr[0],accr[1]))  ###########################################################################################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###Slide heading</dc:title>
  <dc:creator/>
  <cp:revision>12</cp:revision>
  <dcterms:created xsi:type="dcterms:W3CDTF">2015-01-11T09:05:14Z</dcterms:created>
  <dcterms:modified xsi:type="dcterms:W3CDTF">2019-12-04T15:04:25Z</dcterms:modified>
  <cp:category>112013</cp:category>
</cp:coreProperties>
</file>